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5" r:id="rId4"/>
    <p:sldMasterId id="2147483827" r:id="rId5"/>
    <p:sldMasterId id="2147483836" r:id="rId6"/>
    <p:sldMasterId id="2147483844" r:id="rId7"/>
  </p:sldMasterIdLst>
  <p:notesMasterIdLst>
    <p:notesMasterId r:id="rId21"/>
  </p:notesMasterIdLst>
  <p:handoutMasterIdLst>
    <p:handoutMasterId r:id="rId22"/>
  </p:handoutMasterIdLst>
  <p:sldIdLst>
    <p:sldId id="2147376074" r:id="rId8"/>
    <p:sldId id="2147376072" r:id="rId9"/>
    <p:sldId id="2147376085" r:id="rId10"/>
    <p:sldId id="1711" r:id="rId11"/>
    <p:sldId id="2147376075" r:id="rId12"/>
    <p:sldId id="1650" r:id="rId13"/>
    <p:sldId id="2147376089" r:id="rId14"/>
    <p:sldId id="1708" r:id="rId15"/>
    <p:sldId id="1709" r:id="rId16"/>
    <p:sldId id="544" r:id="rId17"/>
    <p:sldId id="2147376086" r:id="rId18"/>
    <p:sldId id="2147376088" r:id="rId19"/>
    <p:sldId id="2147376084" r:id="rId20"/>
  </p:sldIdLst>
  <p:sldSz cx="9906000" cy="6858000" type="A4"/>
  <p:notesSz cx="6770688" cy="990282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208F42-B94A-44F0-AC2D-DB7DD6A342A1}">
          <p14:sldIdLst>
            <p14:sldId id="2147376074"/>
            <p14:sldId id="2147376072"/>
            <p14:sldId id="2147376085"/>
            <p14:sldId id="1711"/>
            <p14:sldId id="2147376075"/>
            <p14:sldId id="1650"/>
            <p14:sldId id="2147376089"/>
            <p14:sldId id="1708"/>
            <p14:sldId id="1709"/>
            <p14:sldId id="544"/>
          </p14:sldIdLst>
        </p14:section>
        <p14:section name="Appendix" id="{AE569606-BDB3-4A36-9C9D-9890CA4708E0}">
          <p14:sldIdLst>
            <p14:sldId id="2147376086"/>
            <p14:sldId id="2147376088"/>
            <p14:sldId id="214737608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ber, Anna-Katharina" initials="HA" lastIdx="1" clrIdx="0">
    <p:extLst>
      <p:ext uri="{19B8F6BF-5375-455C-9EA6-DF929625EA0E}">
        <p15:presenceInfo xmlns:p15="http://schemas.microsoft.com/office/powerpoint/2012/main" userId="S-1-5-21-1251672994-1734816070-1544898942-874771" providerId="AD"/>
      </p:ext>
    </p:extLst>
  </p:cmAuthor>
  <p:cmAuthor id="2" name="Kropp, Todd (FAS)" initials="KT(" lastIdx="7" clrIdx="1">
    <p:extLst>
      <p:ext uri="{19B8F6BF-5375-455C-9EA6-DF929625EA0E}">
        <p15:presenceInfo xmlns:p15="http://schemas.microsoft.com/office/powerpoint/2012/main" userId="S::Todd.Kropp@jp.kpmg.com::aa01485b-0ec7-4ee6-96e6-3537df41623c" providerId="AD"/>
      </p:ext>
    </p:extLst>
  </p:cmAuthor>
  <p:cmAuthor id="3" name="Rodriguez, Leydi (FAS)" initials="RL(" lastIdx="6" clrIdx="2">
    <p:extLst>
      <p:ext uri="{19B8F6BF-5375-455C-9EA6-DF929625EA0E}">
        <p15:presenceInfo xmlns:p15="http://schemas.microsoft.com/office/powerpoint/2012/main" userId="S::Leydi.Rodriguez@jp.kpmg.com::8077daa8-eec6-4efe-b8d1-3ffed5f5ed6f" providerId="AD"/>
      </p:ext>
    </p:extLst>
  </p:cmAuthor>
  <p:cmAuthor id="4" name="KGS" initials="EA" lastIdx="78" clrIdx="3">
    <p:extLst>
      <p:ext uri="{19B8F6BF-5375-455C-9EA6-DF929625EA0E}">
        <p15:presenceInfo xmlns:p15="http://schemas.microsoft.com/office/powerpoint/2012/main" userId="KGS" providerId="None"/>
      </p:ext>
    </p:extLst>
  </p:cmAuthor>
  <p:cmAuthor id="5" name="Das, Soma" initials="DS" lastIdx="65" clrIdx="4">
    <p:extLst>
      <p:ext uri="{19B8F6BF-5375-455C-9EA6-DF929625EA0E}">
        <p15:presenceInfo xmlns:p15="http://schemas.microsoft.com/office/powerpoint/2012/main" userId="S::somadas3@kpmg.com::8ec985cc-ca77-4216-9fd7-e32242ac875a" providerId="AD"/>
      </p:ext>
    </p:extLst>
  </p:cmAuthor>
  <p:cmAuthor id="6" name="A, Rishabh" initials="AR" lastIdx="20" clrIdx="5">
    <p:extLst>
      <p:ext uri="{19B8F6BF-5375-455C-9EA6-DF929625EA0E}">
        <p15:presenceInfo xmlns:p15="http://schemas.microsoft.com/office/powerpoint/2012/main" userId="S::rishabha@kpmg.com::a537bd03-60c5-47a8-b206-db74f1bc5a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338D"/>
    <a:srgbClr val="1D4A9A"/>
    <a:srgbClr val="00C0AE"/>
    <a:srgbClr val="1E49E2"/>
    <a:srgbClr val="6D2077"/>
    <a:srgbClr val="00A3A1"/>
    <a:srgbClr val="005EB8"/>
    <a:srgbClr val="D8D8D8"/>
    <a:srgbClr val="504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249" autoAdjust="0"/>
  </p:normalViewPr>
  <p:slideViewPr>
    <p:cSldViewPr snapToGrid="0" showGuides="1">
      <p:cViewPr>
        <p:scale>
          <a:sx n="400" d="100"/>
          <a:sy n="400" d="100"/>
        </p:scale>
        <p:origin x="-14208" y="-10220"/>
      </p:cViewPr>
      <p:guideLst/>
    </p:cSldViewPr>
  </p:slideViewPr>
  <p:outlineViewPr>
    <p:cViewPr>
      <p:scale>
        <a:sx n="33" d="100"/>
        <a:sy n="33" d="100"/>
      </p:scale>
      <p:origin x="0" y="-7980"/>
    </p:cViewPr>
  </p:outlineViewPr>
  <p:notesTextViewPr>
    <p:cViewPr>
      <p:scale>
        <a:sx n="400" d="100"/>
        <a:sy n="400" d="100"/>
      </p:scale>
      <p:origin x="0" y="0"/>
    </p:cViewPr>
  </p:notesTextViewPr>
  <p:sorterViewPr>
    <p:cViewPr>
      <p:scale>
        <a:sx n="100" d="100"/>
        <a:sy n="100" d="100"/>
      </p:scale>
      <p:origin x="0" y="-13800"/>
    </p:cViewPr>
  </p:sorterViewPr>
  <p:notesViewPr>
    <p:cSldViewPr snapToGrid="0">
      <p:cViewPr varScale="1">
        <p:scale>
          <a:sx n="44" d="100"/>
          <a:sy n="44" d="100"/>
        </p:scale>
        <p:origin x="2788"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A311A7-E63F-8B44-C40A-6B0BDBD1F610}"/>
              </a:ext>
            </a:extLst>
          </p:cNvPr>
          <p:cNvSpPr>
            <a:spLocks noGrp="1"/>
          </p:cNvSpPr>
          <p:nvPr>
            <p:ph type="hdr" sz="quarter"/>
          </p:nvPr>
        </p:nvSpPr>
        <p:spPr>
          <a:xfrm>
            <a:off x="0" y="0"/>
            <a:ext cx="2933700" cy="496888"/>
          </a:xfrm>
          <a:prstGeom prst="rect">
            <a:avLst/>
          </a:prstGeom>
        </p:spPr>
        <p:txBody>
          <a:bodyPr vert="horz" lIns="91440" tIns="45720" rIns="91440" bIns="45720" rtlCol="0"/>
          <a:lstStyle>
            <a:lvl1pPr algn="l">
              <a:defRPr sz="1200"/>
            </a:lvl1pPr>
          </a:lstStyle>
          <a:p>
            <a:endParaRPr lang="en-SG"/>
          </a:p>
        </p:txBody>
      </p:sp>
      <p:sp>
        <p:nvSpPr>
          <p:cNvPr id="3" name="Date Placeholder 2">
            <a:extLst>
              <a:ext uri="{FF2B5EF4-FFF2-40B4-BE49-F238E27FC236}">
                <a16:creationId xmlns:a16="http://schemas.microsoft.com/office/drawing/2014/main" id="{666D6F35-DF68-1B48-36B0-B7E04084BED8}"/>
              </a:ext>
            </a:extLst>
          </p:cNvPr>
          <p:cNvSpPr>
            <a:spLocks noGrp="1"/>
          </p:cNvSpPr>
          <p:nvPr>
            <p:ph type="dt" sz="quarter" idx="1"/>
          </p:nvPr>
        </p:nvSpPr>
        <p:spPr>
          <a:xfrm>
            <a:off x="3835400" y="0"/>
            <a:ext cx="2933700" cy="496888"/>
          </a:xfrm>
          <a:prstGeom prst="rect">
            <a:avLst/>
          </a:prstGeom>
        </p:spPr>
        <p:txBody>
          <a:bodyPr vert="horz" lIns="91440" tIns="45720" rIns="91440" bIns="45720" rtlCol="0"/>
          <a:lstStyle>
            <a:lvl1pPr algn="r">
              <a:defRPr sz="1200"/>
            </a:lvl1pPr>
          </a:lstStyle>
          <a:p>
            <a:fld id="{BB080658-CA4A-4613-A534-772EF9A55A62}" type="datetimeFigureOut">
              <a:rPr lang="en-SG" smtClean="0"/>
              <a:t>26/10/2023</a:t>
            </a:fld>
            <a:endParaRPr lang="en-SG"/>
          </a:p>
        </p:txBody>
      </p:sp>
      <p:sp>
        <p:nvSpPr>
          <p:cNvPr id="4" name="Footer Placeholder 3">
            <a:extLst>
              <a:ext uri="{FF2B5EF4-FFF2-40B4-BE49-F238E27FC236}">
                <a16:creationId xmlns:a16="http://schemas.microsoft.com/office/drawing/2014/main" id="{28ABF336-5830-40CC-DB03-7876E17F386C}"/>
              </a:ext>
            </a:extLst>
          </p:cNvPr>
          <p:cNvSpPr>
            <a:spLocks noGrp="1"/>
          </p:cNvSpPr>
          <p:nvPr>
            <p:ph type="ftr" sz="quarter" idx="2"/>
          </p:nvPr>
        </p:nvSpPr>
        <p:spPr>
          <a:xfrm>
            <a:off x="0" y="9405938"/>
            <a:ext cx="2933700" cy="496887"/>
          </a:xfrm>
          <a:prstGeom prst="rect">
            <a:avLst/>
          </a:prstGeom>
        </p:spPr>
        <p:txBody>
          <a:bodyPr vert="horz" lIns="91440" tIns="45720" rIns="91440" bIns="45720" rtlCol="0" anchor="b"/>
          <a:lstStyle>
            <a:lvl1pPr algn="l">
              <a:defRPr sz="1200"/>
            </a:lvl1pPr>
          </a:lstStyle>
          <a:p>
            <a:endParaRPr lang="en-SG"/>
          </a:p>
        </p:txBody>
      </p:sp>
      <p:sp>
        <p:nvSpPr>
          <p:cNvPr id="5" name="Slide Number Placeholder 4">
            <a:extLst>
              <a:ext uri="{FF2B5EF4-FFF2-40B4-BE49-F238E27FC236}">
                <a16:creationId xmlns:a16="http://schemas.microsoft.com/office/drawing/2014/main" id="{CAB1951D-FF1E-9ACB-9BCD-DC952DE6F637}"/>
              </a:ext>
            </a:extLst>
          </p:cNvPr>
          <p:cNvSpPr>
            <a:spLocks noGrp="1"/>
          </p:cNvSpPr>
          <p:nvPr>
            <p:ph type="sldNum" sz="quarter" idx="3"/>
          </p:nvPr>
        </p:nvSpPr>
        <p:spPr>
          <a:xfrm>
            <a:off x="3835400" y="9405938"/>
            <a:ext cx="2933700" cy="496887"/>
          </a:xfrm>
          <a:prstGeom prst="rect">
            <a:avLst/>
          </a:prstGeom>
        </p:spPr>
        <p:txBody>
          <a:bodyPr vert="horz" lIns="91440" tIns="45720" rIns="91440" bIns="45720" rtlCol="0" anchor="b"/>
          <a:lstStyle>
            <a:lvl1pPr algn="r">
              <a:defRPr sz="1200"/>
            </a:lvl1pPr>
          </a:lstStyle>
          <a:p>
            <a:fld id="{4BE84F83-7734-402B-A8F0-CCD697F30816}" type="slidenum">
              <a:rPr lang="en-SG" smtClean="0"/>
              <a:t>‹#›</a:t>
            </a:fld>
            <a:endParaRPr lang="en-SG"/>
          </a:p>
        </p:txBody>
      </p:sp>
    </p:spTree>
    <p:extLst>
      <p:ext uri="{BB962C8B-B14F-4D97-AF65-F5344CB8AC3E}">
        <p14:creationId xmlns:p14="http://schemas.microsoft.com/office/powerpoint/2010/main" val="1417174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4703" cy="495696"/>
          </a:xfrm>
          <a:prstGeom prst="rect">
            <a:avLst/>
          </a:prstGeom>
        </p:spPr>
        <p:txBody>
          <a:bodyPr vert="horz" lIns="91157" tIns="45578" rIns="91157" bIns="45578" rtlCol="0"/>
          <a:lstStyle>
            <a:lvl1pPr algn="l">
              <a:defRPr sz="1200"/>
            </a:lvl1pPr>
          </a:lstStyle>
          <a:p>
            <a:endParaRPr lang="en-GB" dirty="0"/>
          </a:p>
        </p:txBody>
      </p:sp>
      <p:sp>
        <p:nvSpPr>
          <p:cNvPr id="3" name="Date Placeholder 2"/>
          <p:cNvSpPr>
            <a:spLocks noGrp="1"/>
          </p:cNvSpPr>
          <p:nvPr>
            <p:ph type="dt" idx="1"/>
          </p:nvPr>
        </p:nvSpPr>
        <p:spPr>
          <a:xfrm>
            <a:off x="3834404" y="0"/>
            <a:ext cx="2934703" cy="495696"/>
          </a:xfrm>
          <a:prstGeom prst="rect">
            <a:avLst/>
          </a:prstGeom>
        </p:spPr>
        <p:txBody>
          <a:bodyPr vert="horz" lIns="91157" tIns="45578" rIns="91157" bIns="45578" rtlCol="0"/>
          <a:lstStyle>
            <a:lvl1pPr algn="r">
              <a:defRPr sz="1200"/>
            </a:lvl1pPr>
          </a:lstStyle>
          <a:p>
            <a:fld id="{4C1CF2C5-6B32-4F7B-A588-523CDC999371}" type="datetimeFigureOut">
              <a:rPr lang="en-GB" smtClean="0"/>
              <a:t>26/10/2023</a:t>
            </a:fld>
            <a:endParaRPr lang="en-GB" dirty="0"/>
          </a:p>
        </p:txBody>
      </p:sp>
      <p:sp>
        <p:nvSpPr>
          <p:cNvPr id="4" name="Slide Image Placeholder 3"/>
          <p:cNvSpPr>
            <a:spLocks noGrp="1" noRot="1" noChangeAspect="1"/>
          </p:cNvSpPr>
          <p:nvPr>
            <p:ph type="sldImg" idx="2"/>
          </p:nvPr>
        </p:nvSpPr>
        <p:spPr>
          <a:xfrm>
            <a:off x="973138" y="1238250"/>
            <a:ext cx="4824412" cy="3341688"/>
          </a:xfrm>
          <a:prstGeom prst="rect">
            <a:avLst/>
          </a:prstGeom>
          <a:noFill/>
          <a:ln w="12700">
            <a:solidFill>
              <a:prstClr val="black"/>
            </a:solidFill>
          </a:ln>
        </p:spPr>
        <p:txBody>
          <a:bodyPr vert="horz" lIns="91157" tIns="45578" rIns="91157" bIns="45578" rtlCol="0" anchor="ctr"/>
          <a:lstStyle/>
          <a:p>
            <a:endParaRPr lang="en-GB" dirty="0"/>
          </a:p>
        </p:txBody>
      </p:sp>
      <p:sp>
        <p:nvSpPr>
          <p:cNvPr id="5" name="Notes Placeholder 4"/>
          <p:cNvSpPr>
            <a:spLocks noGrp="1"/>
          </p:cNvSpPr>
          <p:nvPr>
            <p:ph type="body" sz="quarter" idx="3"/>
          </p:nvPr>
        </p:nvSpPr>
        <p:spPr>
          <a:xfrm>
            <a:off x="676753" y="4765330"/>
            <a:ext cx="5417183" cy="3899049"/>
          </a:xfrm>
          <a:prstGeom prst="rect">
            <a:avLst/>
          </a:prstGeom>
        </p:spPr>
        <p:txBody>
          <a:bodyPr vert="horz" lIns="91157" tIns="45578" rIns="91157" bIns="4557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07129"/>
            <a:ext cx="2934703" cy="495696"/>
          </a:xfrm>
          <a:prstGeom prst="rect">
            <a:avLst/>
          </a:prstGeom>
        </p:spPr>
        <p:txBody>
          <a:bodyPr vert="horz" lIns="91157" tIns="45578" rIns="91157" bIns="45578"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34404" y="9407129"/>
            <a:ext cx="2934703" cy="495696"/>
          </a:xfrm>
          <a:prstGeom prst="rect">
            <a:avLst/>
          </a:prstGeom>
        </p:spPr>
        <p:txBody>
          <a:bodyPr vert="horz" lIns="91157" tIns="45578" rIns="91157" bIns="45578" rtlCol="0" anchor="b"/>
          <a:lstStyle>
            <a:lvl1pPr algn="r">
              <a:defRPr sz="1200"/>
            </a:lvl1pPr>
          </a:lstStyle>
          <a:p>
            <a:fld id="{20980855-28F8-45D1-A853-FD7F1B16F473}" type="slidenum">
              <a:rPr lang="en-GB" smtClean="0"/>
              <a:t>‹#›</a:t>
            </a:fld>
            <a:endParaRPr lang="en-GB" dirty="0"/>
          </a:p>
        </p:txBody>
      </p:sp>
    </p:spTree>
    <p:extLst>
      <p:ext uri="{BB962C8B-B14F-4D97-AF65-F5344CB8AC3E}">
        <p14:creationId xmlns:p14="http://schemas.microsoft.com/office/powerpoint/2010/main" val="1045065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6</a:t>
            </a:fld>
            <a:endParaRPr lang="en-GB" dirty="0"/>
          </a:p>
        </p:txBody>
      </p:sp>
    </p:spTree>
    <p:extLst>
      <p:ext uri="{BB962C8B-B14F-4D97-AF65-F5344CB8AC3E}">
        <p14:creationId xmlns:p14="http://schemas.microsoft.com/office/powerpoint/2010/main" val="3069747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7</a:t>
            </a:fld>
            <a:endParaRPr lang="en-GB" dirty="0"/>
          </a:p>
        </p:txBody>
      </p:sp>
    </p:spTree>
    <p:extLst>
      <p:ext uri="{BB962C8B-B14F-4D97-AF65-F5344CB8AC3E}">
        <p14:creationId xmlns:p14="http://schemas.microsoft.com/office/powerpoint/2010/main" val="4035562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8</a:t>
            </a:fld>
            <a:endParaRPr lang="en-GB" dirty="0"/>
          </a:p>
        </p:txBody>
      </p:sp>
    </p:spTree>
    <p:extLst>
      <p:ext uri="{BB962C8B-B14F-4D97-AF65-F5344CB8AC3E}">
        <p14:creationId xmlns:p14="http://schemas.microsoft.com/office/powerpoint/2010/main" val="3763819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9</a:t>
            </a:fld>
            <a:endParaRPr lang="en-GB" dirty="0"/>
          </a:p>
        </p:txBody>
      </p:sp>
    </p:spTree>
    <p:extLst>
      <p:ext uri="{BB962C8B-B14F-4D97-AF65-F5344CB8AC3E}">
        <p14:creationId xmlns:p14="http://schemas.microsoft.com/office/powerpoint/2010/main" val="1793004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9761-A620-481A-82AC-49E9B2CADB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9542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kpmgsg" TargetMode="External"/><Relationship Id="rId7" Type="http://schemas.openxmlformats.org/officeDocument/2006/relationships/hyperlink" Target="https://twitter.com/kpmgsingapore" TargetMode="External"/><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hyperlink" Target="https://www.linkedin.com/company/kpmg-singapore" TargetMode="External"/><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hyperlink" Target="https://www.youtube.com/user/KPMGinSingapore/video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kpmgsg" TargetMode="External"/><Relationship Id="rId7" Type="http://schemas.openxmlformats.org/officeDocument/2006/relationships/hyperlink" Target="https://twitter.com/kpmgsingapore" TargetMode="External"/><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hyperlink" Target="https://www.linkedin.com/company/kpmg-singapore" TargetMode="External"/><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hyperlink" Target="https://www.youtube.com/user/KPMGinSingapore/video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D98743-3EF8-413A-9CBB-30850973E8BB}"/>
              </a:ext>
            </a:extLst>
          </p:cNvPr>
          <p:cNvSpPr>
            <a:spLocks noChangeAspect="1"/>
          </p:cNvSpPr>
          <p:nvPr userDrawn="1"/>
        </p:nvSpPr>
        <p:spPr>
          <a:xfrm>
            <a:off x="814388" y="1263838"/>
            <a:ext cx="6848979"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0DB1EF8C-856B-44C9-8EC4-D91C07220FCD}"/>
              </a:ext>
            </a:extLst>
          </p:cNvPr>
          <p:cNvSpPr>
            <a:spLocks noGrp="1"/>
          </p:cNvSpPr>
          <p:nvPr>
            <p:ph type="ctrTitle" hasCustomPrompt="1"/>
          </p:nvPr>
        </p:nvSpPr>
        <p:spPr>
          <a:xfrm>
            <a:off x="1061200" y="1514264"/>
            <a:ext cx="635689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0F1FDD6A-6C02-4DA3-A99C-D3A904F5190B}"/>
              </a:ext>
            </a:extLst>
          </p:cNvPr>
          <p:cNvSpPr>
            <a:spLocks noGrp="1"/>
          </p:cNvSpPr>
          <p:nvPr>
            <p:ph type="body" sz="quarter" idx="11"/>
          </p:nvPr>
        </p:nvSpPr>
        <p:spPr>
          <a:xfrm>
            <a:off x="1061200" y="4968802"/>
            <a:ext cx="635689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89476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1422400"/>
            <a:ext cx="4378758" cy="365356"/>
          </a:xfrm>
        </p:spPr>
        <p:txBody>
          <a:bodyPr lIns="0" tIns="0" rIns="0" bIns="0"/>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a:t>Click to edit Master text styles</a:t>
            </a:r>
          </a:p>
          <a:p>
            <a:pPr lvl="1"/>
            <a:r>
              <a:rPr lang="en-US"/>
              <a:t>Second level</a:t>
            </a:r>
          </a:p>
        </p:txBody>
      </p:sp>
      <p:sp>
        <p:nvSpPr>
          <p:cNvPr id="26" name="Text Placeholder 24"/>
          <p:cNvSpPr>
            <a:spLocks noGrp="1"/>
          </p:cNvSpPr>
          <p:nvPr>
            <p:ph type="body" sz="quarter" idx="15"/>
          </p:nvPr>
        </p:nvSpPr>
        <p:spPr>
          <a:xfrm>
            <a:off x="488950" y="1422400"/>
            <a:ext cx="4370388" cy="365356"/>
          </a:xfrm>
        </p:spPr>
        <p:txBody>
          <a:bodyPr/>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dirty="0"/>
              <a:t>Click to edit Master text styles</a:t>
            </a:r>
          </a:p>
          <a:p>
            <a:pPr lvl="1"/>
            <a:r>
              <a:rPr lang="en-US" dirty="0"/>
              <a:t>Second level</a:t>
            </a:r>
          </a:p>
        </p:txBody>
      </p:sp>
      <p:sp>
        <p:nvSpPr>
          <p:cNvPr id="19" name="Text Placeholder 8"/>
          <p:cNvSpPr>
            <a:spLocks noGrp="1"/>
          </p:cNvSpPr>
          <p:nvPr>
            <p:ph type="body" sz="quarter" idx="10"/>
          </p:nvPr>
        </p:nvSpPr>
        <p:spPr>
          <a:xfrm>
            <a:off x="488950" y="2485750"/>
            <a:ext cx="4370388" cy="3535639"/>
          </a:xfrm>
        </p:spPr>
        <p:txBody>
          <a:bodyPr/>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1"/>
          </p:nvPr>
        </p:nvSpPr>
        <p:spPr>
          <a:xfrm>
            <a:off x="5061065" y="2485750"/>
            <a:ext cx="4355985" cy="3535639"/>
          </a:xfrm>
          <a:ln w="6350">
            <a:noFill/>
          </a:ln>
        </p:spPr>
        <p:txBody>
          <a:bodyPr lIns="0" tIns="0" rIns="0" bIns="0"/>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LLP, a UK limited liability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partnership,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Audit Plc, a company incorporated under the UK Companies Acts,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5225448" y="6320118"/>
            <a:ext cx="1391575"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3110745</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22" name="TextBox 21"/>
          <p:cNvSpPr txBox="1"/>
          <p:nvPr userDrawn="1"/>
        </p:nvSpPr>
        <p:spPr>
          <a:xfrm>
            <a:off x="6794593" y="6320118"/>
            <a:ext cx="1546299"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OC301540</a:t>
            </a:r>
          </a:p>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13" name="Shape 8">
            <a:extLst>
              <a:ext uri="{FF2B5EF4-FFF2-40B4-BE49-F238E27FC236}">
                <a16:creationId xmlns:a16="http://schemas.microsoft.com/office/drawing/2014/main" id="{BDCC226A-B575-492B-8A20-EB7979A1D9F9}"/>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6845F1DA-7CC1-4454-8753-164082DB9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23022163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p:txBody>
          <a:bodyPr/>
          <a:lstStyle/>
          <a:p>
            <a:r>
              <a:rPr lang="en-US" dirty="0"/>
              <a:t>Click to edit Master title style</a:t>
            </a:r>
            <a:endParaRPr lang="en-GB" dirty="0"/>
          </a:p>
        </p:txBody>
      </p:sp>
      <p:sp>
        <p:nvSpPr>
          <p:cNvPr id="6"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4107799909"/>
      </p:ext>
    </p:extLst>
  </p:cSld>
  <p:clrMapOvr>
    <a:masterClrMapping/>
  </p:clrMapOvr>
  <p:extLst>
    <p:ext uri="{DCECCB84-F9BA-43D5-87BE-67443E8EF086}">
      <p15:sldGuideLst xmlns:p15="http://schemas.microsoft.com/office/powerpoint/2012/main">
        <p15:guide id="1" pos="154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Message 2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1"/>
          </p:nvPr>
        </p:nvSpPr>
        <p:spPr>
          <a:xfrm>
            <a:off x="2446338" y="1422400"/>
            <a:ext cx="3402000" cy="4604400"/>
          </a:xfrm>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2"/>
          </p:nvPr>
        </p:nvSpPr>
        <p:spPr>
          <a:xfrm>
            <a:off x="6015990" y="1422400"/>
            <a:ext cx="3402000" cy="4604400"/>
          </a:xfrm>
          <a:ln>
            <a:noFill/>
          </a:ln>
        </p:spPr>
        <p:txBody>
          <a:bodyPr lIns="0" tIns="0" rIns="0" bIns="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dirty="0"/>
              <a:t>Click to edit Master title style</a:t>
            </a:r>
            <a:endParaRPr lang="en-GB" dirty="0"/>
          </a:p>
        </p:txBody>
      </p:sp>
      <p:sp>
        <p:nvSpPr>
          <p:cNvPr id="7" name="Text Placeholder 4"/>
          <p:cNvSpPr>
            <a:spLocks noGrp="1"/>
          </p:cNvSpPr>
          <p:nvPr>
            <p:ph type="body" sz="quarter" idx="13"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500075832"/>
      </p:ext>
    </p:extLst>
  </p:cSld>
  <p:clrMapOvr>
    <a:masterClrMapping/>
  </p:clrMapOvr>
  <p:extLst>
    <p:ext uri="{DCECCB84-F9BA-43D5-87BE-67443E8EF086}">
      <p15:sldGuideLst xmlns:p15="http://schemas.microsoft.com/office/powerpoint/2012/main">
        <p15:guide id="1" pos="1409" userDrawn="1">
          <p15:clr>
            <a:srgbClr val="FBAE40"/>
          </p15:clr>
        </p15:guide>
        <p15:guide id="2" pos="154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134122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8951" y="451575"/>
            <a:ext cx="8918244" cy="391804"/>
          </a:xfrm>
        </p:spPr>
        <p:txBody>
          <a:body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
        <p:nvSpPr>
          <p:cNvPr id="13" name="Arrow: Pentagon 12">
            <a:extLst>
              <a:ext uri="{FF2B5EF4-FFF2-40B4-BE49-F238E27FC236}">
                <a16:creationId xmlns:a16="http://schemas.microsoft.com/office/drawing/2014/main" id="{4F51159B-E040-0BA4-D8F1-FE45810FF7AC}"/>
              </a:ext>
            </a:extLst>
          </p:cNvPr>
          <p:cNvSpPr>
            <a:spLocks/>
          </p:cNvSpPr>
          <p:nvPr userDrawn="1"/>
        </p:nvSpPr>
        <p:spPr>
          <a:xfrm>
            <a:off x="501651" y="1408953"/>
            <a:ext cx="1924502" cy="1005840"/>
          </a:xfrm>
          <a:prstGeom prst="homePlate">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4" name="Arrow: Chevron 13">
            <a:extLst>
              <a:ext uri="{FF2B5EF4-FFF2-40B4-BE49-F238E27FC236}">
                <a16:creationId xmlns:a16="http://schemas.microsoft.com/office/drawing/2014/main" id="{A676A514-63CC-23BF-702F-45CE16450CDF}"/>
              </a:ext>
            </a:extLst>
          </p:cNvPr>
          <p:cNvSpPr>
            <a:spLocks/>
          </p:cNvSpPr>
          <p:nvPr userDrawn="1"/>
        </p:nvSpPr>
        <p:spPr>
          <a:xfrm>
            <a:off x="2064434" y="1424063"/>
            <a:ext cx="2034684" cy="1005840"/>
          </a:xfrm>
          <a:prstGeom prst="chevron">
            <a:avLst/>
          </a:prstGeom>
          <a:solidFill>
            <a:srgbClr val="1E49E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5" name="Arrow: Chevron 14">
            <a:extLst>
              <a:ext uri="{FF2B5EF4-FFF2-40B4-BE49-F238E27FC236}">
                <a16:creationId xmlns:a16="http://schemas.microsoft.com/office/drawing/2014/main" id="{07D5381F-45A5-D647-B23F-EE31C66A1FD2}"/>
              </a:ext>
            </a:extLst>
          </p:cNvPr>
          <p:cNvSpPr>
            <a:spLocks/>
          </p:cNvSpPr>
          <p:nvPr userDrawn="1"/>
        </p:nvSpPr>
        <p:spPr>
          <a:xfrm>
            <a:off x="3748341" y="1426133"/>
            <a:ext cx="2117087" cy="1005840"/>
          </a:xfrm>
          <a:prstGeom prst="chevron">
            <a:avLst/>
          </a:prstGeom>
          <a:solidFill>
            <a:srgbClr val="00B8F5"/>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6" name="Arrow: Chevron 15">
            <a:extLst>
              <a:ext uri="{FF2B5EF4-FFF2-40B4-BE49-F238E27FC236}">
                <a16:creationId xmlns:a16="http://schemas.microsoft.com/office/drawing/2014/main" id="{A8C8CC35-AD65-971C-2957-467E3AA8E61F}"/>
              </a:ext>
            </a:extLst>
          </p:cNvPr>
          <p:cNvSpPr>
            <a:spLocks/>
          </p:cNvSpPr>
          <p:nvPr userDrawn="1"/>
        </p:nvSpPr>
        <p:spPr>
          <a:xfrm>
            <a:off x="5514651" y="1431618"/>
            <a:ext cx="2117087" cy="1005840"/>
          </a:xfrm>
          <a:prstGeom prst="chevron">
            <a:avLst/>
          </a:prstGeom>
          <a:solidFill>
            <a:srgbClr val="7213EA"/>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7" name="Arrow: Chevron 16">
            <a:extLst>
              <a:ext uri="{FF2B5EF4-FFF2-40B4-BE49-F238E27FC236}">
                <a16:creationId xmlns:a16="http://schemas.microsoft.com/office/drawing/2014/main" id="{1C184E7A-B2F4-F7AC-B0AF-69BACBDBDBFC}"/>
              </a:ext>
            </a:extLst>
          </p:cNvPr>
          <p:cNvSpPr>
            <a:spLocks/>
          </p:cNvSpPr>
          <p:nvPr userDrawn="1"/>
        </p:nvSpPr>
        <p:spPr>
          <a:xfrm>
            <a:off x="7299964" y="1441133"/>
            <a:ext cx="2117087" cy="1005840"/>
          </a:xfrm>
          <a:prstGeom prst="chevron">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9" name="Text Placeholder 18">
            <a:extLst>
              <a:ext uri="{FF2B5EF4-FFF2-40B4-BE49-F238E27FC236}">
                <a16:creationId xmlns:a16="http://schemas.microsoft.com/office/drawing/2014/main" id="{C2B672BB-2066-E9FA-0AE8-7DE868B1107C}"/>
              </a:ext>
            </a:extLst>
          </p:cNvPr>
          <p:cNvSpPr>
            <a:spLocks noGrp="1"/>
          </p:cNvSpPr>
          <p:nvPr>
            <p:ph type="body" sz="quarter" idx="12"/>
          </p:nvPr>
        </p:nvSpPr>
        <p:spPr>
          <a:xfrm>
            <a:off x="501651" y="978064"/>
            <a:ext cx="8928100" cy="3444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1" name="Text Placeholder 20">
            <a:extLst>
              <a:ext uri="{FF2B5EF4-FFF2-40B4-BE49-F238E27FC236}">
                <a16:creationId xmlns:a16="http://schemas.microsoft.com/office/drawing/2014/main" id="{507E96D3-17AB-89FD-3519-2E1FF399D2C6}"/>
              </a:ext>
            </a:extLst>
          </p:cNvPr>
          <p:cNvSpPr>
            <a:spLocks noGrp="1"/>
          </p:cNvSpPr>
          <p:nvPr>
            <p:ph type="body" sz="quarter" idx="13"/>
          </p:nvPr>
        </p:nvSpPr>
        <p:spPr>
          <a:xfrm>
            <a:off x="562324" y="2531414"/>
            <a:ext cx="1579562" cy="2935288"/>
          </a:xfrm>
        </p:spPr>
        <p:txBody>
          <a:bodyPr/>
          <a:lstStyle>
            <a:lvl1pPr>
              <a:defRPr b="0"/>
            </a:lvl1pPr>
            <a:lvl3pPr marL="179999" indent="-179999">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2" name="Text Placeholder 20">
            <a:extLst>
              <a:ext uri="{FF2B5EF4-FFF2-40B4-BE49-F238E27FC236}">
                <a16:creationId xmlns:a16="http://schemas.microsoft.com/office/drawing/2014/main" id="{8705F5B4-84B1-34D6-5C18-2E5E3B67953B}"/>
              </a:ext>
            </a:extLst>
          </p:cNvPr>
          <p:cNvSpPr>
            <a:spLocks noGrp="1"/>
          </p:cNvSpPr>
          <p:nvPr>
            <p:ph type="body" sz="quarter" idx="14"/>
          </p:nvPr>
        </p:nvSpPr>
        <p:spPr>
          <a:xfrm>
            <a:off x="2291995"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3" name="Text Placeholder 20">
            <a:extLst>
              <a:ext uri="{FF2B5EF4-FFF2-40B4-BE49-F238E27FC236}">
                <a16:creationId xmlns:a16="http://schemas.microsoft.com/office/drawing/2014/main" id="{7956EEC8-E2B4-661C-1578-69DC61201DE3}"/>
              </a:ext>
            </a:extLst>
          </p:cNvPr>
          <p:cNvSpPr>
            <a:spLocks noGrp="1"/>
          </p:cNvSpPr>
          <p:nvPr>
            <p:ph type="body" sz="quarter" idx="15"/>
          </p:nvPr>
        </p:nvSpPr>
        <p:spPr>
          <a:xfrm>
            <a:off x="4021666"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4" name="Text Placeholder 20">
            <a:extLst>
              <a:ext uri="{FF2B5EF4-FFF2-40B4-BE49-F238E27FC236}">
                <a16:creationId xmlns:a16="http://schemas.microsoft.com/office/drawing/2014/main" id="{D129E072-7B7D-2655-ED96-64A2DEBD2BD7}"/>
              </a:ext>
            </a:extLst>
          </p:cNvPr>
          <p:cNvSpPr>
            <a:spLocks noGrp="1"/>
          </p:cNvSpPr>
          <p:nvPr>
            <p:ph type="body" sz="quarter" idx="16"/>
          </p:nvPr>
        </p:nvSpPr>
        <p:spPr>
          <a:xfrm>
            <a:off x="5783413"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5" name="Text Placeholder 20">
            <a:extLst>
              <a:ext uri="{FF2B5EF4-FFF2-40B4-BE49-F238E27FC236}">
                <a16:creationId xmlns:a16="http://schemas.microsoft.com/office/drawing/2014/main" id="{4598E087-EDC6-92BF-2AB1-C49F67720C60}"/>
              </a:ext>
            </a:extLst>
          </p:cNvPr>
          <p:cNvSpPr>
            <a:spLocks noGrp="1"/>
          </p:cNvSpPr>
          <p:nvPr>
            <p:ph type="body" sz="quarter" idx="17"/>
          </p:nvPr>
        </p:nvSpPr>
        <p:spPr>
          <a:xfrm>
            <a:off x="7568726"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Tree>
    <p:extLst>
      <p:ext uri="{BB962C8B-B14F-4D97-AF65-F5344CB8AC3E}">
        <p14:creationId xmlns:p14="http://schemas.microsoft.com/office/powerpoint/2010/main" val="4091226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4" name="Shape 8">
            <a:extLst>
              <a:ext uri="{FF2B5EF4-FFF2-40B4-BE49-F238E27FC236}">
                <a16:creationId xmlns:a16="http://schemas.microsoft.com/office/drawing/2014/main" id="{D0DBDCEE-A283-4750-BBE4-7DA0B6F510F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997B1B73-0F5A-4B77-83D1-A16C7035EE05}"/>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6" name="TextBox 5">
            <a:extLst>
              <a:ext uri="{FF2B5EF4-FFF2-40B4-BE49-F238E27FC236}">
                <a16:creationId xmlns:a16="http://schemas.microsoft.com/office/drawing/2014/main" id="{599356AD-FB81-4E98-9A22-F5279C6E0FAB}"/>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7" name="Straight Connector 6">
            <a:extLst>
              <a:ext uri="{FF2B5EF4-FFF2-40B4-BE49-F238E27FC236}">
                <a16:creationId xmlns:a16="http://schemas.microsoft.com/office/drawing/2014/main" id="{D0F7998E-6CE7-4E52-A139-933AD2B32F96}"/>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D91D2281-E8ED-4D25-972C-2978DD7A8F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8450056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488951" y="451575"/>
            <a:ext cx="8928100" cy="72360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1448459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6" name="Title 5"/>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3" name="Shape 8">
            <a:extLst>
              <a:ext uri="{FF2B5EF4-FFF2-40B4-BE49-F238E27FC236}">
                <a16:creationId xmlns:a16="http://schemas.microsoft.com/office/drawing/2014/main" id="{0B80A629-B77C-4AEA-B058-6685189C7332}"/>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CAA6EAD6-B279-4EDB-B5C0-950B7DB9CA7A}"/>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6AA71A99-82B2-4BAE-BCFF-9CAC498F7AFE}"/>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F019B8B1-933F-483A-ADD1-9798FFDFEDD4}"/>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1972EB70-12E4-41FB-A7D2-5DE835B9392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3277006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504390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
        <p:nvSpPr>
          <p:cNvPr id="2" name="Title 1">
            <a:extLst>
              <a:ext uri="{FF2B5EF4-FFF2-40B4-BE49-F238E27FC236}">
                <a16:creationId xmlns:a16="http://schemas.microsoft.com/office/drawing/2014/main" id="{AE97DB58-860A-432D-A684-9D2580280AAE}"/>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190252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504390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6" name="Shape 8">
            <a:extLst>
              <a:ext uri="{FF2B5EF4-FFF2-40B4-BE49-F238E27FC236}">
                <a16:creationId xmlns:a16="http://schemas.microsoft.com/office/drawing/2014/main" id="{8E33D3E0-2609-4E0F-B846-EEC5966395A5}"/>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2561C467-2D2A-459B-82B0-E1358D52ED5B}"/>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8" name="TextBox 7">
            <a:extLst>
              <a:ext uri="{FF2B5EF4-FFF2-40B4-BE49-F238E27FC236}">
                <a16:creationId xmlns:a16="http://schemas.microsoft.com/office/drawing/2014/main" id="{644DF5AF-4A58-4DBF-A5D6-3842990CCE6F}"/>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1DB213AE-E70B-4D73-A612-A3B691E9D7CF}"/>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32F581D8-1471-49D8-8F6B-FC01B42B44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
        <p:nvSpPr>
          <p:cNvPr id="2" name="Title 1">
            <a:extLst>
              <a:ext uri="{FF2B5EF4-FFF2-40B4-BE49-F238E27FC236}">
                <a16:creationId xmlns:a16="http://schemas.microsoft.com/office/drawing/2014/main" id="{0D27959C-6D5A-44BB-8E09-2E7A772D91F9}"/>
              </a:ext>
            </a:extLst>
          </p:cNvPr>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41117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
        <p:nvSpPr>
          <p:cNvPr id="9" name="Rectangle 8">
            <a:extLst>
              <a:ext uri="{FF2B5EF4-FFF2-40B4-BE49-F238E27FC236}">
                <a16:creationId xmlns:a16="http://schemas.microsoft.com/office/drawing/2014/main" id="{6664616F-BE17-4D4B-B6D4-C4B7E26631AF}"/>
              </a:ext>
            </a:extLst>
          </p:cNvPr>
          <p:cNvSpPr>
            <a:spLocks/>
          </p:cNvSpPr>
          <p:nvPr userDrawn="1"/>
        </p:nvSpPr>
        <p:spPr>
          <a:xfrm>
            <a:off x="814388" y="1263838"/>
            <a:ext cx="329141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54631362-CDDD-4333-A24A-5A4F69330CB6}"/>
              </a:ext>
            </a:extLst>
          </p:cNvPr>
          <p:cNvSpPr>
            <a:spLocks noGrp="1"/>
          </p:cNvSpPr>
          <p:nvPr>
            <p:ph type="ctrTitle" hasCustomPrompt="1"/>
          </p:nvPr>
        </p:nvSpPr>
        <p:spPr>
          <a:xfrm>
            <a:off x="1061201" y="1514264"/>
            <a:ext cx="280171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37D37525-FE24-4786-ABF7-2D443788DBC1}"/>
              </a:ext>
            </a:extLst>
          </p:cNvPr>
          <p:cNvSpPr>
            <a:spLocks noGrp="1"/>
          </p:cNvSpPr>
          <p:nvPr>
            <p:ph type="body" sz="quarter" idx="11"/>
          </p:nvPr>
        </p:nvSpPr>
        <p:spPr>
          <a:xfrm>
            <a:off x="1061201" y="4968802"/>
            <a:ext cx="280171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596386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7051046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488951" y="3830800"/>
            <a:ext cx="8928100" cy="2196000"/>
          </a:xfrm>
        </p:spPr>
        <p:txBody>
          <a:bodyPr anchor="ctr"/>
          <a:lstStyle>
            <a:lvl1pPr algn="ctr">
              <a:defRPr/>
            </a:lvl1pPr>
          </a:lstStyle>
          <a:p>
            <a:r>
              <a:rPr lang="en-US"/>
              <a:t>Click icon to add chart</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6" name="Text Placeholder 4"/>
          <p:cNvSpPr>
            <a:spLocks noGrp="1"/>
          </p:cNvSpPr>
          <p:nvPr>
            <p:ph type="body" sz="quarter" idx="12"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79179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
        <p:nvSpPr>
          <p:cNvPr id="7" name="Chart Placeholder 5">
            <a:extLst>
              <a:ext uri="{FF2B5EF4-FFF2-40B4-BE49-F238E27FC236}">
                <a16:creationId xmlns:a16="http://schemas.microsoft.com/office/drawing/2014/main" id="{9E394B45-74BD-4697-911E-EF9DF27840B7}"/>
              </a:ext>
            </a:extLst>
          </p:cNvPr>
          <p:cNvSpPr>
            <a:spLocks noGrp="1"/>
          </p:cNvSpPr>
          <p:nvPr>
            <p:ph type="chart" sz="quarter" idx="14"/>
          </p:nvPr>
        </p:nvSpPr>
        <p:spPr>
          <a:xfrm>
            <a:off x="488950" y="1422400"/>
            <a:ext cx="4373150" cy="46044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3964217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1" y="3830800"/>
            <a:ext cx="2844000" cy="21960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488949" y="3830800"/>
            <a:ext cx="2844000" cy="21960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488950" y="1422400"/>
            <a:ext cx="28440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hart Placeholder 4"/>
          <p:cNvSpPr>
            <a:spLocks noGrp="1"/>
          </p:cNvSpPr>
          <p:nvPr>
            <p:ph type="chart" sz="quarter" idx="13"/>
          </p:nvPr>
        </p:nvSpPr>
        <p:spPr>
          <a:xfrm>
            <a:off x="6573051" y="3830800"/>
            <a:ext cx="2844000" cy="21960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3531001" y="1422400"/>
            <a:ext cx="28440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573051" y="1422400"/>
            <a:ext cx="28440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1" name="Text Placeholder 4"/>
          <p:cNvSpPr>
            <a:spLocks noGrp="1"/>
          </p:cNvSpPr>
          <p:nvPr>
            <p:ph type="body" sz="quarter" idx="16"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475347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5"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7"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5"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7"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9"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79520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5"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7"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5"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7"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9"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accent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0919753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49"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4"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6"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p:cNvSpPr>
            <a:spLocks noGrp="1"/>
          </p:cNvSpPr>
          <p:nvPr>
            <p:ph type="body" sz="quarter" idx="19"/>
          </p:nvPr>
        </p:nvSpPr>
        <p:spPr>
          <a:xfrm>
            <a:off x="7766103"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1"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67861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276602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043088"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320156"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1"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90758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32753"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976557"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2036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1" name="Text Placeholder 4"/>
          <p:cNvSpPr>
            <a:spLocks noGrp="1"/>
          </p:cNvSpPr>
          <p:nvPr>
            <p:ph type="body" sz="quarter" idx="18"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245859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32753"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976557"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2036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accent1"/>
                </a:solidFill>
              </a:defRPr>
            </a:lvl1pPr>
          </a:lstStyle>
          <a:p>
            <a:r>
              <a:rPr lang="en-US" dirty="0"/>
              <a:t>Click to edit Master title style</a:t>
            </a:r>
            <a:endParaRPr lang="en-GB" dirty="0"/>
          </a:p>
        </p:txBody>
      </p:sp>
      <p:sp>
        <p:nvSpPr>
          <p:cNvPr id="11" name="Text Placeholder 4"/>
          <p:cNvSpPr>
            <a:spLocks noGrp="1"/>
          </p:cNvSpPr>
          <p:nvPr>
            <p:ph type="body" sz="quarter" idx="18" hasCustomPrompt="1"/>
          </p:nvPr>
        </p:nvSpPr>
        <p:spPr>
          <a:xfrm>
            <a:off x="488951"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338495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49D36D-CB23-431A-8EA8-1AD1089F04EA}"/>
              </a:ext>
            </a:extLst>
          </p:cNvPr>
          <p:cNvSpPr>
            <a:spLocks noChangeAspect="1"/>
          </p:cNvSpPr>
          <p:nvPr userDrawn="1"/>
        </p:nvSpPr>
        <p:spPr>
          <a:xfrm>
            <a:off x="2242634" y="313438"/>
            <a:ext cx="6848979"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0B7176F5-D114-4595-B2BD-7E4468724E33}"/>
              </a:ext>
            </a:extLst>
          </p:cNvPr>
          <p:cNvSpPr>
            <a:spLocks noGrp="1"/>
          </p:cNvSpPr>
          <p:nvPr>
            <p:ph type="ctrTitle" hasCustomPrompt="1"/>
          </p:nvPr>
        </p:nvSpPr>
        <p:spPr>
          <a:xfrm>
            <a:off x="2489447" y="563864"/>
            <a:ext cx="635689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2" name="Text Placeholder 3">
            <a:extLst>
              <a:ext uri="{FF2B5EF4-FFF2-40B4-BE49-F238E27FC236}">
                <a16:creationId xmlns:a16="http://schemas.microsoft.com/office/drawing/2014/main" id="{46C70BE1-2B31-413E-806B-9137352E26BF}"/>
              </a:ext>
            </a:extLst>
          </p:cNvPr>
          <p:cNvSpPr>
            <a:spLocks noGrp="1"/>
          </p:cNvSpPr>
          <p:nvPr>
            <p:ph type="body" sz="quarter" idx="11"/>
          </p:nvPr>
        </p:nvSpPr>
        <p:spPr>
          <a:xfrm>
            <a:off x="2489447" y="4018402"/>
            <a:ext cx="635689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12868752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4" name="Title 3"/>
          <p:cNvSpPr>
            <a:spLocks noGrp="1"/>
          </p:cNvSpPr>
          <p:nvPr>
            <p:ph type="title"/>
          </p:nvPr>
        </p:nvSpPr>
        <p:spPr>
          <a:xfrm>
            <a:off x="488951" y="451575"/>
            <a:ext cx="8918244" cy="723600"/>
          </a:xfrm>
        </p:spPr>
        <p:txBody>
          <a:bodyPr/>
          <a:lstStyle>
            <a:lvl1pPr>
              <a:defRPr>
                <a:solidFill>
                  <a:schemeClr val="tx2"/>
                </a:solidFill>
              </a:defRPr>
            </a:lvl1pPr>
          </a:lstStyle>
          <a:p>
            <a:r>
              <a:rPr lang="en-US" dirty="0"/>
              <a:t>Click to edit Master title style</a:t>
            </a:r>
            <a:endParaRPr lang="en-GB" dirty="0"/>
          </a:p>
        </p:txBody>
      </p:sp>
      <p:sp>
        <p:nvSpPr>
          <p:cNvPr id="16"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solidFill>
                  <a:schemeClr val="tx2"/>
                </a:solidFill>
              </a:defRPr>
            </a:lvl1pPr>
          </a:lstStyle>
          <a:p>
            <a:pPr lvl="0"/>
            <a:r>
              <a:rPr lang="en-US" dirty="0"/>
              <a:t>Super title here</a:t>
            </a:r>
          </a:p>
        </p:txBody>
      </p:sp>
      <p:sp>
        <p:nvSpPr>
          <p:cNvPr id="25" name="Text Placeholder 12">
            <a:extLst>
              <a:ext uri="{FF2B5EF4-FFF2-40B4-BE49-F238E27FC236}">
                <a16:creationId xmlns:a16="http://schemas.microsoft.com/office/drawing/2014/main" id="{64C91CD3-7352-4823-ACCA-495944A858D9}"/>
              </a:ext>
            </a:extLst>
          </p:cNvPr>
          <p:cNvSpPr>
            <a:spLocks noGrp="1"/>
          </p:cNvSpPr>
          <p:nvPr>
            <p:ph type="body" sz="quarter" idx="14" hasCustomPrompt="1"/>
          </p:nvPr>
        </p:nvSpPr>
        <p:spPr>
          <a:xfrm>
            <a:off x="3841410" y="2940750"/>
            <a:ext cx="2232000" cy="1548000"/>
          </a:xfrm>
          <a:prstGeom prst="rect">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32">
            <a:extLst>
              <a:ext uri="{FF2B5EF4-FFF2-40B4-BE49-F238E27FC236}">
                <a16:creationId xmlns:a16="http://schemas.microsoft.com/office/drawing/2014/main" id="{BD4F8449-24BE-4134-8014-7028BD8DE9B6}"/>
              </a:ext>
            </a:extLst>
          </p:cNvPr>
          <p:cNvSpPr>
            <a:spLocks noGrp="1"/>
          </p:cNvSpPr>
          <p:nvPr>
            <p:ph type="body" sz="quarter" idx="20"/>
          </p:nvPr>
        </p:nvSpPr>
        <p:spPr>
          <a:xfrm>
            <a:off x="5028849" y="1422401"/>
            <a:ext cx="4378344" cy="2226449"/>
          </a:xfrm>
          <a:custGeom>
            <a:avLst/>
            <a:gdLst>
              <a:gd name="connsiteX0" fmla="*/ 0 w 4378344"/>
              <a:gd name="connsiteY0" fmla="*/ 0 h 2226449"/>
              <a:gd name="connsiteX1" fmla="*/ 309581 w 4378344"/>
              <a:gd name="connsiteY1" fmla="*/ 0 h 2226449"/>
              <a:gd name="connsiteX2" fmla="*/ 4068763 w 4378344"/>
              <a:gd name="connsiteY2" fmla="*/ 0 h 2226449"/>
              <a:gd name="connsiteX3" fmla="*/ 4378344 w 4378344"/>
              <a:gd name="connsiteY3" fmla="*/ 0 h 2226449"/>
              <a:gd name="connsiteX4" fmla="*/ 4378344 w 4378344"/>
              <a:gd name="connsiteY4" fmla="*/ 2226449 h 2226449"/>
              <a:gd name="connsiteX5" fmla="*/ 4068763 w 4378344"/>
              <a:gd name="connsiteY5" fmla="*/ 2226449 h 2226449"/>
              <a:gd name="connsiteX6" fmla="*/ 1498141 w 4378344"/>
              <a:gd name="connsiteY6" fmla="*/ 2226449 h 2226449"/>
              <a:gd name="connsiteX7" fmla="*/ 1188560 w 4378344"/>
              <a:gd name="connsiteY7" fmla="*/ 2226449 h 2226449"/>
              <a:gd name="connsiteX8" fmla="*/ 1188560 w 4378344"/>
              <a:gd name="connsiteY8" fmla="*/ 1374351 h 2226449"/>
              <a:gd name="connsiteX9" fmla="*/ 309581 w 4378344"/>
              <a:gd name="connsiteY9" fmla="*/ 1374351 h 2226449"/>
              <a:gd name="connsiteX10" fmla="*/ 0 w 4378344"/>
              <a:gd name="connsiteY10" fmla="*/ 1374351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8344" h="2226449">
                <a:moveTo>
                  <a:pt x="0" y="0"/>
                </a:moveTo>
                <a:lnTo>
                  <a:pt x="309581" y="0"/>
                </a:lnTo>
                <a:lnTo>
                  <a:pt x="4068763" y="0"/>
                </a:lnTo>
                <a:lnTo>
                  <a:pt x="4378344" y="0"/>
                </a:lnTo>
                <a:lnTo>
                  <a:pt x="4378344" y="2226449"/>
                </a:lnTo>
                <a:lnTo>
                  <a:pt x="4068763" y="2226449"/>
                </a:lnTo>
                <a:lnTo>
                  <a:pt x="1498141" y="2226449"/>
                </a:lnTo>
                <a:lnTo>
                  <a:pt x="1188560" y="2226449"/>
                </a:lnTo>
                <a:lnTo>
                  <a:pt x="1188560" y="1374351"/>
                </a:lnTo>
                <a:lnTo>
                  <a:pt x="309581" y="1374351"/>
                </a:lnTo>
                <a:lnTo>
                  <a:pt x="0" y="1374351"/>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Text Placeholder 31">
            <a:extLst>
              <a:ext uri="{FF2B5EF4-FFF2-40B4-BE49-F238E27FC236}">
                <a16:creationId xmlns:a16="http://schemas.microsoft.com/office/drawing/2014/main" id="{24EA5681-54AA-4B86-902A-84C4AE3E9798}"/>
              </a:ext>
            </a:extLst>
          </p:cNvPr>
          <p:cNvSpPr>
            <a:spLocks noGrp="1"/>
          </p:cNvSpPr>
          <p:nvPr>
            <p:ph type="body" sz="quarter" idx="21"/>
          </p:nvPr>
        </p:nvSpPr>
        <p:spPr>
          <a:xfrm>
            <a:off x="5046663" y="3789314"/>
            <a:ext cx="4360532" cy="2217786"/>
          </a:xfrm>
          <a:custGeom>
            <a:avLst/>
            <a:gdLst>
              <a:gd name="connsiteX0" fmla="*/ 1183357 w 4360531"/>
              <a:gd name="connsiteY0" fmla="*/ 0 h 2217786"/>
              <a:gd name="connsiteX1" fmla="*/ 1480328 w 4360531"/>
              <a:gd name="connsiteY1" fmla="*/ 0 h 2217786"/>
              <a:gd name="connsiteX2" fmla="*/ 4050950 w 4360531"/>
              <a:gd name="connsiteY2" fmla="*/ 0 h 2217786"/>
              <a:gd name="connsiteX3" fmla="*/ 4360531 w 4360531"/>
              <a:gd name="connsiteY3" fmla="*/ 0 h 2217786"/>
              <a:gd name="connsiteX4" fmla="*/ 4360531 w 4360531"/>
              <a:gd name="connsiteY4" fmla="*/ 2217786 h 2217786"/>
              <a:gd name="connsiteX5" fmla="*/ 4050950 w 4360531"/>
              <a:gd name="connsiteY5" fmla="*/ 2217786 h 2217786"/>
              <a:gd name="connsiteX6" fmla="*/ 291768 w 4360531"/>
              <a:gd name="connsiteY6" fmla="*/ 2217786 h 2217786"/>
              <a:gd name="connsiteX7" fmla="*/ 0 w 4360531"/>
              <a:gd name="connsiteY7" fmla="*/ 2217786 h 2217786"/>
              <a:gd name="connsiteX8" fmla="*/ 0 w 4360531"/>
              <a:gd name="connsiteY8" fmla="*/ 843436 h 2217786"/>
              <a:gd name="connsiteX9" fmla="*/ 291768 w 4360531"/>
              <a:gd name="connsiteY9" fmla="*/ 843436 h 2217786"/>
              <a:gd name="connsiteX10" fmla="*/ 1183357 w 4360531"/>
              <a:gd name="connsiteY10" fmla="*/ 84343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0531" h="2217786">
                <a:moveTo>
                  <a:pt x="1183357" y="0"/>
                </a:moveTo>
                <a:lnTo>
                  <a:pt x="1480328" y="0"/>
                </a:lnTo>
                <a:lnTo>
                  <a:pt x="4050950" y="0"/>
                </a:lnTo>
                <a:lnTo>
                  <a:pt x="4360531" y="0"/>
                </a:lnTo>
                <a:lnTo>
                  <a:pt x="4360531" y="2217786"/>
                </a:lnTo>
                <a:lnTo>
                  <a:pt x="4050950" y="2217786"/>
                </a:lnTo>
                <a:lnTo>
                  <a:pt x="291768" y="2217786"/>
                </a:lnTo>
                <a:lnTo>
                  <a:pt x="0" y="2217786"/>
                </a:lnTo>
                <a:lnTo>
                  <a:pt x="0" y="843436"/>
                </a:lnTo>
                <a:lnTo>
                  <a:pt x="291768" y="843436"/>
                </a:lnTo>
                <a:lnTo>
                  <a:pt x="1183357" y="843436"/>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34">
            <a:extLst>
              <a:ext uri="{FF2B5EF4-FFF2-40B4-BE49-F238E27FC236}">
                <a16:creationId xmlns:a16="http://schemas.microsoft.com/office/drawing/2014/main" id="{61B17469-3735-4930-AB1E-88048E6D3E03}"/>
              </a:ext>
            </a:extLst>
          </p:cNvPr>
          <p:cNvSpPr>
            <a:spLocks noGrp="1"/>
          </p:cNvSpPr>
          <p:nvPr>
            <p:ph type="body" sz="quarter" idx="22"/>
          </p:nvPr>
        </p:nvSpPr>
        <p:spPr>
          <a:xfrm>
            <a:off x="488949" y="3789314"/>
            <a:ext cx="4370388" cy="2217786"/>
          </a:xfrm>
          <a:custGeom>
            <a:avLst/>
            <a:gdLst>
              <a:gd name="connsiteX0" fmla="*/ 0 w 4370388"/>
              <a:gd name="connsiteY0" fmla="*/ 0 h 2217786"/>
              <a:gd name="connsiteX1" fmla="*/ 328259 w 4370388"/>
              <a:gd name="connsiteY1" fmla="*/ 0 h 2217786"/>
              <a:gd name="connsiteX2" fmla="*/ 2880201 w 4370388"/>
              <a:gd name="connsiteY2" fmla="*/ 0 h 2217786"/>
              <a:gd name="connsiteX3" fmla="*/ 3189606 w 4370388"/>
              <a:gd name="connsiteY3" fmla="*/ 0 h 2217786"/>
              <a:gd name="connsiteX4" fmla="*/ 3189606 w 4370388"/>
              <a:gd name="connsiteY4" fmla="*/ 843436 h 2217786"/>
              <a:gd name="connsiteX5" fmla="*/ 4068763 w 4370388"/>
              <a:gd name="connsiteY5" fmla="*/ 843436 h 2217786"/>
              <a:gd name="connsiteX6" fmla="*/ 4370388 w 4370388"/>
              <a:gd name="connsiteY6" fmla="*/ 843436 h 2217786"/>
              <a:gd name="connsiteX7" fmla="*/ 4370388 w 4370388"/>
              <a:gd name="connsiteY7" fmla="*/ 2217786 h 2217786"/>
              <a:gd name="connsiteX8" fmla="*/ 4068763 w 4370388"/>
              <a:gd name="connsiteY8" fmla="*/ 2217786 h 2217786"/>
              <a:gd name="connsiteX9" fmla="*/ 328259 w 4370388"/>
              <a:gd name="connsiteY9" fmla="*/ 2217786 h 2217786"/>
              <a:gd name="connsiteX10" fmla="*/ 0 w 4370388"/>
              <a:gd name="connsiteY10" fmla="*/ 221778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17786">
                <a:moveTo>
                  <a:pt x="0" y="0"/>
                </a:moveTo>
                <a:lnTo>
                  <a:pt x="328259" y="0"/>
                </a:lnTo>
                <a:lnTo>
                  <a:pt x="2880201" y="0"/>
                </a:lnTo>
                <a:lnTo>
                  <a:pt x="3189606" y="0"/>
                </a:lnTo>
                <a:lnTo>
                  <a:pt x="3189606" y="843436"/>
                </a:lnTo>
                <a:lnTo>
                  <a:pt x="4068763" y="843436"/>
                </a:lnTo>
                <a:lnTo>
                  <a:pt x="4370388" y="843436"/>
                </a:lnTo>
                <a:lnTo>
                  <a:pt x="4370388" y="2217786"/>
                </a:lnTo>
                <a:lnTo>
                  <a:pt x="4068763" y="2217786"/>
                </a:lnTo>
                <a:lnTo>
                  <a:pt x="328259" y="2217786"/>
                </a:lnTo>
                <a:lnTo>
                  <a:pt x="0" y="2217786"/>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33">
            <a:extLst>
              <a:ext uri="{FF2B5EF4-FFF2-40B4-BE49-F238E27FC236}">
                <a16:creationId xmlns:a16="http://schemas.microsoft.com/office/drawing/2014/main" id="{CCA34735-C9C7-4277-8644-A007865AD91E}"/>
              </a:ext>
            </a:extLst>
          </p:cNvPr>
          <p:cNvSpPr>
            <a:spLocks noGrp="1"/>
          </p:cNvSpPr>
          <p:nvPr>
            <p:ph type="body" sz="quarter" idx="23"/>
          </p:nvPr>
        </p:nvSpPr>
        <p:spPr>
          <a:xfrm>
            <a:off x="488949" y="1422401"/>
            <a:ext cx="4370388" cy="2226449"/>
          </a:xfrm>
          <a:custGeom>
            <a:avLst/>
            <a:gdLst>
              <a:gd name="connsiteX0" fmla="*/ 0 w 4370388"/>
              <a:gd name="connsiteY0" fmla="*/ 0 h 2226449"/>
              <a:gd name="connsiteX1" fmla="*/ 328259 w 4370388"/>
              <a:gd name="connsiteY1" fmla="*/ 0 h 2226449"/>
              <a:gd name="connsiteX2" fmla="*/ 4068763 w 4370388"/>
              <a:gd name="connsiteY2" fmla="*/ 0 h 2226449"/>
              <a:gd name="connsiteX3" fmla="*/ 4370388 w 4370388"/>
              <a:gd name="connsiteY3" fmla="*/ 0 h 2226449"/>
              <a:gd name="connsiteX4" fmla="*/ 4370388 w 4370388"/>
              <a:gd name="connsiteY4" fmla="*/ 1374351 h 2226449"/>
              <a:gd name="connsiteX5" fmla="*/ 4068763 w 4370388"/>
              <a:gd name="connsiteY5" fmla="*/ 1374351 h 2226449"/>
              <a:gd name="connsiteX6" fmla="*/ 3189606 w 4370388"/>
              <a:gd name="connsiteY6" fmla="*/ 1374351 h 2226449"/>
              <a:gd name="connsiteX7" fmla="*/ 3189606 w 4370388"/>
              <a:gd name="connsiteY7" fmla="*/ 2226449 h 2226449"/>
              <a:gd name="connsiteX8" fmla="*/ 2880201 w 4370388"/>
              <a:gd name="connsiteY8" fmla="*/ 2226449 h 2226449"/>
              <a:gd name="connsiteX9" fmla="*/ 328259 w 4370388"/>
              <a:gd name="connsiteY9" fmla="*/ 2226449 h 2226449"/>
              <a:gd name="connsiteX10" fmla="*/ 0 w 4370388"/>
              <a:gd name="connsiteY10" fmla="*/ 2226449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26449">
                <a:moveTo>
                  <a:pt x="0" y="0"/>
                </a:moveTo>
                <a:lnTo>
                  <a:pt x="328259" y="0"/>
                </a:lnTo>
                <a:lnTo>
                  <a:pt x="4068763" y="0"/>
                </a:lnTo>
                <a:lnTo>
                  <a:pt x="4370388" y="0"/>
                </a:lnTo>
                <a:lnTo>
                  <a:pt x="4370388" y="1374351"/>
                </a:lnTo>
                <a:lnTo>
                  <a:pt x="4068763" y="1374351"/>
                </a:lnTo>
                <a:lnTo>
                  <a:pt x="3189606" y="1374351"/>
                </a:lnTo>
                <a:lnTo>
                  <a:pt x="3189606" y="2226449"/>
                </a:lnTo>
                <a:lnTo>
                  <a:pt x="2880201" y="2226449"/>
                </a:lnTo>
                <a:lnTo>
                  <a:pt x="328259" y="2226449"/>
                </a:lnTo>
                <a:lnTo>
                  <a:pt x="0" y="2226449"/>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561665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7"/>
            <a:ext cx="437315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5043900" y="1781377"/>
            <a:ext cx="437315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7"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8288594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5"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5"/>
          </p:nvPr>
        </p:nvSpPr>
        <p:spPr>
          <a:xfrm>
            <a:off x="5054325" y="1428430"/>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5" y="3890142"/>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4" name="Title 3"/>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3"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6308686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5"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5"/>
          </p:nvPr>
        </p:nvSpPr>
        <p:spPr>
          <a:xfrm>
            <a:off x="5054325" y="1428430"/>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5" y="3890142"/>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8"/>
          <p:cNvSpPr>
            <a:spLocks noGrp="1"/>
          </p:cNvSpPr>
          <p:nvPr>
            <p:ph type="body" sz="quarter" idx="18"/>
          </p:nvPr>
        </p:nvSpPr>
        <p:spPr>
          <a:xfrm>
            <a:off x="488950" y="3890142"/>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8430"/>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4" name="Title 3"/>
          <p:cNvSpPr>
            <a:spLocks noGrp="1"/>
          </p:cNvSpPr>
          <p:nvPr>
            <p:ph type="title"/>
          </p:nvPr>
        </p:nvSpPr>
        <p:spPr>
          <a:xfrm>
            <a:off x="488951" y="451575"/>
            <a:ext cx="8928100" cy="723600"/>
          </a:xfrm>
        </p:spPr>
        <p:txBody>
          <a:bodyPr/>
          <a:lstStyle>
            <a:lvl1pPr>
              <a:defRPr>
                <a:solidFill>
                  <a:schemeClr val="bg1"/>
                </a:solidFill>
              </a:defRPr>
            </a:lvl1p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23" name="Shape 8">
            <a:extLst>
              <a:ext uri="{FF2B5EF4-FFF2-40B4-BE49-F238E27FC236}">
                <a16:creationId xmlns:a16="http://schemas.microsoft.com/office/drawing/2014/main" id="{0C1698D7-6F3C-4BA0-A6D6-053899BB29B3}"/>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TextBox 23">
            <a:extLst>
              <a:ext uri="{FF2B5EF4-FFF2-40B4-BE49-F238E27FC236}">
                <a16:creationId xmlns:a16="http://schemas.microsoft.com/office/drawing/2014/main" id="{78D34CCF-E43D-4B91-AC31-EEDC636239E0}"/>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332D634F-7557-4EDF-B1D8-95FE227D376D}"/>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6C2F5949-AA7F-4CA6-9943-3D37287D0120}"/>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BB58402A-8637-4C69-8029-FC174B3240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8036093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bg1"/>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42767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tx2"/>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277308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tx2"/>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755576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9"/>
            <a:ext cx="2374048" cy="153888"/>
          </a:xfrm>
          <a:prstGeom prst="rect">
            <a:avLst/>
          </a:prstGeom>
          <a:noFill/>
        </p:spPr>
        <p:txBody>
          <a:bodyPr wrap="non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000" b="1" kern="1200" noProof="0" dirty="0">
                <a:solidFill>
                  <a:schemeClr val="bg1"/>
                </a:solidFill>
                <a:latin typeface="+mn-lt"/>
                <a:ea typeface="+mn-ea"/>
                <a:cs typeface="+mn-cs"/>
              </a:rPr>
              <a:t>Document Classification: KPMG Public</a:t>
            </a:r>
          </a:p>
        </p:txBody>
      </p:sp>
      <p:sp>
        <p:nvSpPr>
          <p:cNvPr id="13" name="Text Placeholder 2">
            <a:extLst>
              <a:ext uri="{FF2B5EF4-FFF2-40B4-BE49-F238E27FC236}">
                <a16:creationId xmlns:a16="http://schemas.microsoft.com/office/drawing/2014/main" id="{DAC8411B-E3F1-4BA8-8D3B-88DFB5D2C2AD}"/>
              </a:ext>
            </a:extLst>
          </p:cNvPr>
          <p:cNvSpPr>
            <a:spLocks noGrp="1"/>
          </p:cNvSpPr>
          <p:nvPr>
            <p:ph type="body" sz="quarter" idx="10"/>
          </p:nvPr>
        </p:nvSpPr>
        <p:spPr>
          <a:xfrm>
            <a:off x="814388" y="3861848"/>
            <a:ext cx="6255182" cy="1843088"/>
          </a:xfrm>
        </p:spPr>
        <p:txBody>
          <a:bodyPr anchor="b"/>
          <a:lstStyle>
            <a:lvl1pPr>
              <a:spcAft>
                <a:spcPts val="1000"/>
              </a:spcAft>
              <a:defRPr sz="1000" b="0">
                <a:solidFill>
                  <a:schemeClr val="bg1"/>
                </a:solidFill>
              </a:defRPr>
            </a:lvl1pPr>
            <a:lvl2pPr>
              <a:spcAft>
                <a:spcPts val="1000"/>
              </a:spcAft>
              <a:defRPr sz="1000" b="0">
                <a:solidFill>
                  <a:schemeClr val="bg1"/>
                </a:solidFill>
              </a:defRPr>
            </a:lvl2p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355C9463-5BED-4BE5-AA07-A41D76019E33}"/>
              </a:ext>
            </a:extLst>
          </p:cNvPr>
          <p:cNvSpPr>
            <a:spLocks noGrp="1"/>
          </p:cNvSpPr>
          <p:nvPr>
            <p:ph type="body" sz="quarter" idx="14"/>
          </p:nvPr>
        </p:nvSpPr>
        <p:spPr>
          <a:xfrm>
            <a:off x="814388" y="3351965"/>
            <a:ext cx="2411738" cy="119064"/>
          </a:xfrm>
        </p:spPr>
        <p:txBody>
          <a:bodyPr/>
          <a:lstStyle>
            <a:lvl1pPr>
              <a:buFontTx/>
              <a:buNone/>
              <a:defRPr sz="11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A55D4F83-EE56-426F-AE1E-5CC7E9EECE71}"/>
              </a:ext>
            </a:extLst>
          </p:cNvPr>
          <p:cNvGrpSpPr/>
          <p:nvPr userDrawn="1"/>
        </p:nvGrpSpPr>
        <p:grpSpPr>
          <a:xfrm>
            <a:off x="814389" y="2881531"/>
            <a:ext cx="2023200" cy="367957"/>
            <a:chOff x="998476" y="2881529"/>
            <a:chExt cx="2023200" cy="367957"/>
          </a:xfrm>
        </p:grpSpPr>
        <p:sp>
          <p:nvSpPr>
            <p:cNvPr id="22" name="Rectangle 21">
              <a:extLst>
                <a:ext uri="{FF2B5EF4-FFF2-40B4-BE49-F238E27FC236}">
                  <a16:creationId xmlns:a16="http://schemas.microsoft.com/office/drawing/2014/main" id="{ABF425CB-49A0-4902-A6B4-5ADD75DB8D6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3" name="Rectangle 22">
              <a:extLst>
                <a:ext uri="{FF2B5EF4-FFF2-40B4-BE49-F238E27FC236}">
                  <a16:creationId xmlns:a16="http://schemas.microsoft.com/office/drawing/2014/main" id="{B799CAE1-593D-44B9-ACE6-EDCD682B6571}"/>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4" name="Rectangle 23">
              <a:extLst>
                <a:ext uri="{FF2B5EF4-FFF2-40B4-BE49-F238E27FC236}">
                  <a16:creationId xmlns:a16="http://schemas.microsoft.com/office/drawing/2014/main" id="{F3D3BC1A-AB6B-4C81-BFB3-D253D87C4A0A}"/>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5" name="Rectangle 24">
              <a:extLst>
                <a:ext uri="{FF2B5EF4-FFF2-40B4-BE49-F238E27FC236}">
                  <a16:creationId xmlns:a16="http://schemas.microsoft.com/office/drawing/2014/main" id="{E04A9C55-E916-4C14-9748-7196193F6842}"/>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6" name="Picture 25">
              <a:extLst>
                <a:ext uri="{FF2B5EF4-FFF2-40B4-BE49-F238E27FC236}">
                  <a16:creationId xmlns:a16="http://schemas.microsoft.com/office/drawing/2014/main" id="{4960C917-1BF7-41E9-9AA7-70AA024B57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1CB0AAE4-23B8-49DE-BCEF-8B238EB0483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B2C0E53A-EE33-4270-B14D-B869E85C47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D72C2AF4-7898-4D5E-8942-28DD644657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6A09DBD9-8B17-436D-A512-D46DE0CFD5C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3589425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9"/>
            <a:ext cx="2374048" cy="153888"/>
          </a:xfrm>
          <a:prstGeom prst="rect">
            <a:avLst/>
          </a:prstGeom>
          <a:noFill/>
        </p:spPr>
        <p:txBody>
          <a:bodyPr wrap="non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000" b="1" kern="1200" noProof="0" dirty="0">
                <a:solidFill>
                  <a:schemeClr val="tx2"/>
                </a:solidFill>
                <a:latin typeface="+mn-lt"/>
                <a:ea typeface="+mn-ea"/>
                <a:cs typeface="+mn-cs"/>
              </a:rPr>
              <a:t>Document Classification: KPMG Public</a:t>
            </a:r>
          </a:p>
        </p:txBody>
      </p:sp>
      <p:sp>
        <p:nvSpPr>
          <p:cNvPr id="13" name="Text Placeholder 2">
            <a:extLst>
              <a:ext uri="{FF2B5EF4-FFF2-40B4-BE49-F238E27FC236}">
                <a16:creationId xmlns:a16="http://schemas.microsoft.com/office/drawing/2014/main" id="{DAC8411B-E3F1-4BA8-8D3B-88DFB5D2C2AD}"/>
              </a:ext>
            </a:extLst>
          </p:cNvPr>
          <p:cNvSpPr>
            <a:spLocks noGrp="1"/>
          </p:cNvSpPr>
          <p:nvPr>
            <p:ph type="body" sz="quarter" idx="10"/>
          </p:nvPr>
        </p:nvSpPr>
        <p:spPr>
          <a:xfrm>
            <a:off x="814388" y="3861848"/>
            <a:ext cx="6255182" cy="1843088"/>
          </a:xfrm>
        </p:spPr>
        <p:txBody>
          <a:bodyPr anchor="b"/>
          <a:lstStyle>
            <a:lvl1pPr>
              <a:spcAft>
                <a:spcPts val="1000"/>
              </a:spcAft>
              <a:defRPr sz="1000" b="0">
                <a:solidFill>
                  <a:schemeClr val="tx2"/>
                </a:solidFill>
              </a:defRPr>
            </a:lvl1pPr>
            <a:lvl2pPr>
              <a:spcAft>
                <a:spcPts val="1000"/>
              </a:spcAft>
              <a:defRPr sz="1000" b="0">
                <a:solidFill>
                  <a:schemeClr val="tx2"/>
                </a:solidFill>
              </a:defRPr>
            </a:lvl2p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355C9463-5BED-4BE5-AA07-A41D76019E33}"/>
              </a:ext>
            </a:extLst>
          </p:cNvPr>
          <p:cNvSpPr>
            <a:spLocks noGrp="1"/>
          </p:cNvSpPr>
          <p:nvPr>
            <p:ph type="body" sz="quarter" idx="14"/>
          </p:nvPr>
        </p:nvSpPr>
        <p:spPr>
          <a:xfrm>
            <a:off x="814388" y="3351965"/>
            <a:ext cx="2411738"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A55D4F83-EE56-426F-AE1E-5CC7E9EECE71}"/>
              </a:ext>
            </a:extLst>
          </p:cNvPr>
          <p:cNvGrpSpPr/>
          <p:nvPr userDrawn="1"/>
        </p:nvGrpSpPr>
        <p:grpSpPr>
          <a:xfrm>
            <a:off x="814389" y="2881531"/>
            <a:ext cx="2023200" cy="367957"/>
            <a:chOff x="998476" y="2881529"/>
            <a:chExt cx="2023200" cy="367957"/>
          </a:xfrm>
        </p:grpSpPr>
        <p:sp>
          <p:nvSpPr>
            <p:cNvPr id="22" name="Rectangle 21">
              <a:extLst>
                <a:ext uri="{FF2B5EF4-FFF2-40B4-BE49-F238E27FC236}">
                  <a16:creationId xmlns:a16="http://schemas.microsoft.com/office/drawing/2014/main" id="{ABF425CB-49A0-4902-A6B4-5ADD75DB8D6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3" name="Rectangle 22">
              <a:extLst>
                <a:ext uri="{FF2B5EF4-FFF2-40B4-BE49-F238E27FC236}">
                  <a16:creationId xmlns:a16="http://schemas.microsoft.com/office/drawing/2014/main" id="{B799CAE1-593D-44B9-ACE6-EDCD682B6571}"/>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4" name="Rectangle 23">
              <a:extLst>
                <a:ext uri="{FF2B5EF4-FFF2-40B4-BE49-F238E27FC236}">
                  <a16:creationId xmlns:a16="http://schemas.microsoft.com/office/drawing/2014/main" id="{F3D3BC1A-AB6B-4C81-BFB3-D253D87C4A0A}"/>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5" name="Rectangle 24">
              <a:extLst>
                <a:ext uri="{FF2B5EF4-FFF2-40B4-BE49-F238E27FC236}">
                  <a16:creationId xmlns:a16="http://schemas.microsoft.com/office/drawing/2014/main" id="{E04A9C55-E916-4C14-9748-7196193F6842}"/>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6" name="Picture 25">
              <a:extLst>
                <a:ext uri="{FF2B5EF4-FFF2-40B4-BE49-F238E27FC236}">
                  <a16:creationId xmlns:a16="http://schemas.microsoft.com/office/drawing/2014/main" id="{4960C917-1BF7-41E9-9AA7-70AA024B57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1CB0AAE4-23B8-49DE-BCEF-8B238EB0483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B2C0E53A-EE33-4270-B14D-B869E85C47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D72C2AF4-7898-4D5E-8942-28DD644657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6A09DBD9-8B17-436D-A512-D46DE0CFD5C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5068042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en-US"/>
              <a:t>Click to edit Master title style</a:t>
            </a:r>
          </a:p>
        </p:txBody>
      </p:sp>
      <p:grpSp>
        <p:nvGrpSpPr>
          <p:cNvPr id="17" name="Group 16">
            <a:extLst>
              <a:ext uri="{FF2B5EF4-FFF2-40B4-BE49-F238E27FC236}">
                <a16:creationId xmlns:a16="http://schemas.microsoft.com/office/drawing/2014/main" id="{626EF98C-751D-4F2D-9E73-1A67C86BDEB6}"/>
              </a:ext>
            </a:extLst>
          </p:cNvPr>
          <p:cNvGrpSpPr/>
          <p:nvPr userDrawn="1"/>
        </p:nvGrpSpPr>
        <p:grpSpPr>
          <a:xfrm>
            <a:off x="488950" y="1435487"/>
            <a:ext cx="1369453" cy="3862635"/>
            <a:chOff x="431800" y="1435485"/>
            <a:chExt cx="1369453" cy="3862635"/>
          </a:xfrm>
        </p:grpSpPr>
        <p:sp>
          <p:nvSpPr>
            <p:cNvPr id="18" name="TextBox 17">
              <a:extLst>
                <a:ext uri="{FF2B5EF4-FFF2-40B4-BE49-F238E27FC236}">
                  <a16:creationId xmlns:a16="http://schemas.microsoft.com/office/drawing/2014/main" id="{083A029E-F47E-4063-92DE-3F7D08D2978A}"/>
                </a:ext>
              </a:extLst>
            </p:cNvPr>
            <p:cNvSpPr txBox="1"/>
            <p:nvPr userDrawn="1"/>
          </p:nvSpPr>
          <p:spPr>
            <a:xfrm>
              <a:off x="437207" y="1435485"/>
              <a:ext cx="1364046"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Primary Colors</a:t>
              </a:r>
            </a:p>
          </p:txBody>
        </p:sp>
        <p:sp>
          <p:nvSpPr>
            <p:cNvPr id="19" name="Rectangle 18">
              <a:extLst>
                <a:ext uri="{FF2B5EF4-FFF2-40B4-BE49-F238E27FC236}">
                  <a16:creationId xmlns:a16="http://schemas.microsoft.com/office/drawing/2014/main" id="{B4D79E91-240E-4CE9-BD78-5046C30D1A18}"/>
                </a:ext>
              </a:extLst>
            </p:cNvPr>
            <p:cNvSpPr>
              <a:spLocks/>
            </p:cNvSpPr>
            <p:nvPr userDrawn="1"/>
          </p:nvSpPr>
          <p:spPr>
            <a:xfrm>
              <a:off x="431800" y="2323989"/>
              <a:ext cx="498229"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30</a:t>
              </a:r>
            </a:p>
            <a:p>
              <a:pPr algn="ctr"/>
              <a:r>
                <a:rPr lang="en-GB" sz="799" dirty="0">
                  <a:solidFill>
                    <a:schemeClr val="bg1"/>
                  </a:solidFill>
                </a:rPr>
                <a:t>73</a:t>
              </a:r>
            </a:p>
            <a:p>
              <a:pPr algn="ctr"/>
              <a:r>
                <a:rPr lang="en-GB" sz="799" dirty="0">
                  <a:solidFill>
                    <a:schemeClr val="bg1"/>
                  </a:solidFill>
                </a:rPr>
                <a:t>226</a:t>
              </a:r>
            </a:p>
          </p:txBody>
        </p:sp>
        <p:sp>
          <p:nvSpPr>
            <p:cNvPr id="20" name="Rectangle 19">
              <a:extLst>
                <a:ext uri="{FF2B5EF4-FFF2-40B4-BE49-F238E27FC236}">
                  <a16:creationId xmlns:a16="http://schemas.microsoft.com/office/drawing/2014/main" id="{2C69FA0A-5FC1-4DE0-B123-631C80946944}"/>
                </a:ext>
              </a:extLst>
            </p:cNvPr>
            <p:cNvSpPr>
              <a:spLocks/>
            </p:cNvSpPr>
            <p:nvPr userDrawn="1"/>
          </p:nvSpPr>
          <p:spPr>
            <a:xfrm>
              <a:off x="431800" y="1809427"/>
              <a:ext cx="498229"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51</a:t>
              </a:r>
            </a:p>
            <a:p>
              <a:pPr algn="ctr"/>
              <a:r>
                <a:rPr lang="en-GB" sz="799" dirty="0">
                  <a:solidFill>
                    <a:schemeClr val="bg1"/>
                  </a:solidFill>
                </a:rPr>
                <a:t>141</a:t>
              </a:r>
            </a:p>
          </p:txBody>
        </p:sp>
        <p:sp>
          <p:nvSpPr>
            <p:cNvPr id="21" name="Rectangle 20">
              <a:extLst>
                <a:ext uri="{FF2B5EF4-FFF2-40B4-BE49-F238E27FC236}">
                  <a16:creationId xmlns:a16="http://schemas.microsoft.com/office/drawing/2014/main" id="{16C58682-AE35-412D-9814-1AC993C40193}"/>
                </a:ext>
              </a:extLst>
            </p:cNvPr>
            <p:cNvSpPr>
              <a:spLocks/>
            </p:cNvSpPr>
            <p:nvPr userDrawn="1"/>
          </p:nvSpPr>
          <p:spPr>
            <a:xfrm>
              <a:off x="431800" y="2838550"/>
              <a:ext cx="498229"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2</a:t>
              </a:r>
            </a:p>
            <a:p>
              <a:pPr algn="ctr"/>
              <a:r>
                <a:rPr lang="en-GB" sz="799" dirty="0">
                  <a:solidFill>
                    <a:schemeClr val="bg1"/>
                  </a:solidFill>
                </a:rPr>
                <a:t>35</a:t>
              </a:r>
            </a:p>
            <a:p>
              <a:pPr algn="ctr"/>
              <a:r>
                <a:rPr lang="en-GB" sz="799" dirty="0">
                  <a:solidFill>
                    <a:schemeClr val="bg1"/>
                  </a:solidFill>
                </a:rPr>
                <a:t>60</a:t>
              </a:r>
            </a:p>
          </p:txBody>
        </p:sp>
        <p:sp>
          <p:nvSpPr>
            <p:cNvPr id="31" name="Rectangle 30">
              <a:extLst>
                <a:ext uri="{FF2B5EF4-FFF2-40B4-BE49-F238E27FC236}">
                  <a16:creationId xmlns:a16="http://schemas.microsoft.com/office/drawing/2014/main" id="{EB84E864-7714-4B35-A11C-CEC6ACE57FDD}"/>
                </a:ext>
              </a:extLst>
            </p:cNvPr>
            <p:cNvSpPr>
              <a:spLocks/>
            </p:cNvSpPr>
            <p:nvPr userDrawn="1"/>
          </p:nvSpPr>
          <p:spPr>
            <a:xfrm>
              <a:off x="431800" y="3353112"/>
              <a:ext cx="498229"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72</a:t>
              </a:r>
            </a:p>
            <a:p>
              <a:pPr algn="ctr"/>
              <a:r>
                <a:rPr lang="en-GB" sz="799" dirty="0">
                  <a:solidFill>
                    <a:sysClr val="windowText" lastClr="000000"/>
                  </a:solidFill>
                </a:rPr>
                <a:t>234</a:t>
              </a:r>
            </a:p>
            <a:p>
              <a:pPr algn="ctr"/>
              <a:r>
                <a:rPr lang="en-GB" sz="799" dirty="0">
                  <a:solidFill>
                    <a:sysClr val="windowText" lastClr="000000"/>
                  </a:solidFill>
                </a:rPr>
                <a:t>255</a:t>
              </a:r>
            </a:p>
          </p:txBody>
        </p:sp>
        <p:sp>
          <p:nvSpPr>
            <p:cNvPr id="33" name="Rectangle 32">
              <a:extLst>
                <a:ext uri="{FF2B5EF4-FFF2-40B4-BE49-F238E27FC236}">
                  <a16:creationId xmlns:a16="http://schemas.microsoft.com/office/drawing/2014/main" id="{D9C9DB94-A023-463B-87CC-D56EDA60B7B2}"/>
                </a:ext>
              </a:extLst>
            </p:cNvPr>
            <p:cNvSpPr>
              <a:spLocks/>
            </p:cNvSpPr>
            <p:nvPr userDrawn="1"/>
          </p:nvSpPr>
          <p:spPr>
            <a:xfrm>
              <a:off x="431800" y="3864167"/>
              <a:ext cx="498229"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184</a:t>
              </a:r>
            </a:p>
            <a:p>
              <a:pPr algn="ctr"/>
              <a:r>
                <a:rPr lang="en-GB" sz="799" dirty="0">
                  <a:solidFill>
                    <a:schemeClr val="bg1"/>
                  </a:solidFill>
                </a:rPr>
                <a:t>245</a:t>
              </a:r>
            </a:p>
          </p:txBody>
        </p:sp>
        <p:sp>
          <p:nvSpPr>
            <p:cNvPr id="34" name="Rectangle 33">
              <a:extLst>
                <a:ext uri="{FF2B5EF4-FFF2-40B4-BE49-F238E27FC236}">
                  <a16:creationId xmlns:a16="http://schemas.microsoft.com/office/drawing/2014/main" id="{70818289-F48A-4AAD-932A-D124C06F33CB}"/>
                </a:ext>
              </a:extLst>
            </p:cNvPr>
            <p:cNvSpPr>
              <a:spLocks/>
            </p:cNvSpPr>
            <p:nvPr userDrawn="1"/>
          </p:nvSpPr>
          <p:spPr>
            <a:xfrm>
              <a:off x="431800" y="4378727"/>
              <a:ext cx="498229"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14</a:t>
              </a:r>
            </a:p>
            <a:p>
              <a:pPr algn="ctr"/>
              <a:r>
                <a:rPr lang="en-GB" sz="799" dirty="0">
                  <a:solidFill>
                    <a:schemeClr val="bg1"/>
                  </a:solidFill>
                </a:rPr>
                <a:t>19</a:t>
              </a:r>
            </a:p>
            <a:p>
              <a:pPr algn="ctr"/>
              <a:r>
                <a:rPr lang="en-GB" sz="799" dirty="0">
                  <a:solidFill>
                    <a:schemeClr val="bg1"/>
                  </a:solidFill>
                </a:rPr>
                <a:t>234</a:t>
              </a:r>
            </a:p>
          </p:txBody>
        </p:sp>
        <p:sp>
          <p:nvSpPr>
            <p:cNvPr id="35" name="Rectangle 34">
              <a:extLst>
                <a:ext uri="{FF2B5EF4-FFF2-40B4-BE49-F238E27FC236}">
                  <a16:creationId xmlns:a16="http://schemas.microsoft.com/office/drawing/2014/main" id="{F59E4511-F558-44E0-8DD3-D17EFB8C6E18}"/>
                </a:ext>
              </a:extLst>
            </p:cNvPr>
            <p:cNvSpPr>
              <a:spLocks/>
            </p:cNvSpPr>
            <p:nvPr userDrawn="1"/>
          </p:nvSpPr>
          <p:spPr>
            <a:xfrm>
              <a:off x="431800" y="4886895"/>
              <a:ext cx="498229"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53</a:t>
              </a:r>
            </a:p>
            <a:p>
              <a:pPr algn="ctr"/>
              <a:r>
                <a:rPr lang="en-GB" sz="799" dirty="0">
                  <a:solidFill>
                    <a:schemeClr val="bg1"/>
                  </a:solidFill>
                </a:rPr>
                <a:t>52</a:t>
              </a:r>
            </a:p>
            <a:p>
              <a:pPr algn="ctr"/>
              <a:r>
                <a:rPr lang="en-GB" sz="799" dirty="0">
                  <a:solidFill>
                    <a:schemeClr val="bg1"/>
                  </a:solidFill>
                </a:rPr>
                <a:t>156</a:t>
              </a:r>
            </a:p>
          </p:txBody>
        </p:sp>
        <p:sp>
          <p:nvSpPr>
            <p:cNvPr id="36" name="TextBox 35">
              <a:extLst>
                <a:ext uri="{FF2B5EF4-FFF2-40B4-BE49-F238E27FC236}">
                  <a16:creationId xmlns:a16="http://schemas.microsoft.com/office/drawing/2014/main" id="{3448FA23-008F-4A21-BC6A-6185FCFC52D2}"/>
                </a:ext>
              </a:extLst>
            </p:cNvPr>
            <p:cNvSpPr txBox="1"/>
            <p:nvPr userDrawn="1"/>
          </p:nvSpPr>
          <p:spPr>
            <a:xfrm>
              <a:off x="1028090" y="2971948"/>
              <a:ext cx="561051" cy="153888"/>
            </a:xfrm>
            <a:prstGeom prst="rect">
              <a:avLst/>
            </a:prstGeom>
            <a:noFill/>
          </p:spPr>
          <p:txBody>
            <a:bodyPr wrap="none" lIns="0" tIns="0" rIns="0" bIns="0" rtlCol="0" anchor="ctr">
              <a:spAutoFit/>
            </a:bodyPr>
            <a:lstStyle/>
            <a:p>
              <a:pPr algn="l">
                <a:spcAft>
                  <a:spcPts val="600"/>
                </a:spcAft>
              </a:pPr>
              <a:r>
                <a:rPr lang="en-GB" sz="1000" dirty="0"/>
                <a:t>Dark Blue</a:t>
              </a:r>
            </a:p>
          </p:txBody>
        </p:sp>
        <p:sp>
          <p:nvSpPr>
            <p:cNvPr id="37" name="TextBox 36">
              <a:extLst>
                <a:ext uri="{FF2B5EF4-FFF2-40B4-BE49-F238E27FC236}">
                  <a16:creationId xmlns:a16="http://schemas.microsoft.com/office/drawing/2014/main" id="{BC720359-127E-405D-919C-083611C7A08A}"/>
                </a:ext>
              </a:extLst>
            </p:cNvPr>
            <p:cNvSpPr txBox="1"/>
            <p:nvPr userDrawn="1"/>
          </p:nvSpPr>
          <p:spPr>
            <a:xfrm>
              <a:off x="1028090" y="1949834"/>
              <a:ext cx="652423" cy="153888"/>
            </a:xfrm>
            <a:prstGeom prst="rect">
              <a:avLst/>
            </a:prstGeom>
            <a:noFill/>
          </p:spPr>
          <p:txBody>
            <a:bodyPr wrap="none" lIns="0" tIns="0" rIns="0" bIns="0" rtlCol="0" anchor="ctr">
              <a:spAutoFit/>
            </a:bodyPr>
            <a:lstStyle/>
            <a:p>
              <a:pPr algn="l">
                <a:spcAft>
                  <a:spcPts val="600"/>
                </a:spcAft>
              </a:pPr>
              <a:r>
                <a:rPr lang="en-GB" sz="1000" dirty="0"/>
                <a:t>KPMG blue</a:t>
              </a:r>
            </a:p>
          </p:txBody>
        </p:sp>
        <p:sp>
          <p:nvSpPr>
            <p:cNvPr id="38" name="TextBox 37">
              <a:extLst>
                <a:ext uri="{FF2B5EF4-FFF2-40B4-BE49-F238E27FC236}">
                  <a16:creationId xmlns:a16="http://schemas.microsoft.com/office/drawing/2014/main" id="{7C39E4F3-E153-4CC0-A276-C622A3204E0A}"/>
                </a:ext>
              </a:extLst>
            </p:cNvPr>
            <p:cNvSpPr txBox="1"/>
            <p:nvPr userDrawn="1"/>
          </p:nvSpPr>
          <p:spPr>
            <a:xfrm>
              <a:off x="1028090" y="3483005"/>
              <a:ext cx="565861" cy="153888"/>
            </a:xfrm>
            <a:prstGeom prst="rect">
              <a:avLst/>
            </a:prstGeom>
            <a:noFill/>
          </p:spPr>
          <p:txBody>
            <a:bodyPr wrap="none" lIns="0" tIns="0" rIns="0" bIns="0" rtlCol="0" anchor="ctr">
              <a:spAutoFit/>
            </a:bodyPr>
            <a:lstStyle/>
            <a:p>
              <a:pPr algn="l">
                <a:spcAft>
                  <a:spcPts val="600"/>
                </a:spcAft>
              </a:pPr>
              <a:r>
                <a:rPr lang="en-GB" sz="1000" dirty="0"/>
                <a:t>Light Blue</a:t>
              </a:r>
            </a:p>
          </p:txBody>
        </p:sp>
        <p:sp>
          <p:nvSpPr>
            <p:cNvPr id="39" name="TextBox 38">
              <a:extLst>
                <a:ext uri="{FF2B5EF4-FFF2-40B4-BE49-F238E27FC236}">
                  <a16:creationId xmlns:a16="http://schemas.microsoft.com/office/drawing/2014/main" id="{4DF54008-2462-4D42-8BCA-DA618813F8D4}"/>
                </a:ext>
              </a:extLst>
            </p:cNvPr>
            <p:cNvSpPr txBox="1"/>
            <p:nvPr userDrawn="1"/>
          </p:nvSpPr>
          <p:spPr>
            <a:xfrm>
              <a:off x="1028090" y="2460891"/>
              <a:ext cx="658835" cy="153888"/>
            </a:xfrm>
            <a:prstGeom prst="rect">
              <a:avLst/>
            </a:prstGeom>
            <a:noFill/>
          </p:spPr>
          <p:txBody>
            <a:bodyPr wrap="none" lIns="0" tIns="0" rIns="0" bIns="0" rtlCol="0" anchor="ctr">
              <a:spAutoFit/>
            </a:bodyPr>
            <a:lstStyle/>
            <a:p>
              <a:pPr algn="l">
                <a:spcAft>
                  <a:spcPts val="600"/>
                </a:spcAft>
              </a:pPr>
              <a:r>
                <a:rPr lang="en-GB" sz="1000" dirty="0"/>
                <a:t>Cobalt Blue</a:t>
              </a:r>
            </a:p>
          </p:txBody>
        </p:sp>
        <p:sp>
          <p:nvSpPr>
            <p:cNvPr id="40" name="TextBox 39">
              <a:extLst>
                <a:ext uri="{FF2B5EF4-FFF2-40B4-BE49-F238E27FC236}">
                  <a16:creationId xmlns:a16="http://schemas.microsoft.com/office/drawing/2014/main" id="{3F305D39-8E62-4075-BA1C-E1EB03EE2713}"/>
                </a:ext>
              </a:extLst>
            </p:cNvPr>
            <p:cNvSpPr txBox="1"/>
            <p:nvPr userDrawn="1"/>
          </p:nvSpPr>
          <p:spPr>
            <a:xfrm>
              <a:off x="1028090" y="3993446"/>
              <a:ext cx="666849" cy="153888"/>
            </a:xfrm>
            <a:prstGeom prst="rect">
              <a:avLst/>
            </a:prstGeom>
            <a:noFill/>
          </p:spPr>
          <p:txBody>
            <a:bodyPr wrap="none" lIns="0" tIns="0" rIns="0" bIns="0" rtlCol="0" anchor="ctr">
              <a:spAutoFit/>
            </a:bodyPr>
            <a:lstStyle/>
            <a:p>
              <a:pPr algn="l">
                <a:spcAft>
                  <a:spcPts val="600"/>
                </a:spcAft>
              </a:pPr>
              <a:r>
                <a:rPr lang="en-GB" sz="1000" dirty="0"/>
                <a:t>Pacific Blue</a:t>
              </a:r>
            </a:p>
          </p:txBody>
        </p:sp>
        <p:sp>
          <p:nvSpPr>
            <p:cNvPr id="41" name="TextBox 40">
              <a:extLst>
                <a:ext uri="{FF2B5EF4-FFF2-40B4-BE49-F238E27FC236}">
                  <a16:creationId xmlns:a16="http://schemas.microsoft.com/office/drawing/2014/main" id="{BA2CA773-E86A-4B8F-ADA0-2CB9E1BA2E5D}"/>
                </a:ext>
              </a:extLst>
            </p:cNvPr>
            <p:cNvSpPr txBox="1"/>
            <p:nvPr userDrawn="1"/>
          </p:nvSpPr>
          <p:spPr>
            <a:xfrm>
              <a:off x="1028090" y="4504503"/>
              <a:ext cx="368691" cy="153888"/>
            </a:xfrm>
            <a:prstGeom prst="rect">
              <a:avLst/>
            </a:prstGeom>
            <a:noFill/>
          </p:spPr>
          <p:txBody>
            <a:bodyPr wrap="none" lIns="0" tIns="0" rIns="0" bIns="0" rtlCol="0" anchor="ctr">
              <a:spAutoFit/>
            </a:bodyPr>
            <a:lstStyle/>
            <a:p>
              <a:pPr algn="l">
                <a:spcAft>
                  <a:spcPts val="600"/>
                </a:spcAft>
              </a:pPr>
              <a:r>
                <a:rPr lang="en-GB" sz="1000" dirty="0"/>
                <a:t>Purple</a:t>
              </a:r>
            </a:p>
          </p:txBody>
        </p:sp>
        <p:sp>
          <p:nvSpPr>
            <p:cNvPr id="42" name="TextBox 41">
              <a:extLst>
                <a:ext uri="{FF2B5EF4-FFF2-40B4-BE49-F238E27FC236}">
                  <a16:creationId xmlns:a16="http://schemas.microsoft.com/office/drawing/2014/main" id="{DE021187-04CC-4668-8F96-790FD0271481}"/>
                </a:ext>
              </a:extLst>
            </p:cNvPr>
            <p:cNvSpPr txBox="1"/>
            <p:nvPr userDrawn="1"/>
          </p:nvSpPr>
          <p:spPr>
            <a:xfrm>
              <a:off x="1028090" y="5015563"/>
              <a:ext cx="248466" cy="153888"/>
            </a:xfrm>
            <a:prstGeom prst="rect">
              <a:avLst/>
            </a:prstGeom>
            <a:noFill/>
          </p:spPr>
          <p:txBody>
            <a:bodyPr wrap="none" lIns="0" tIns="0" rIns="0" bIns="0" rtlCol="0" anchor="ctr">
              <a:spAutoFit/>
            </a:bodyPr>
            <a:lstStyle/>
            <a:p>
              <a:pPr algn="l">
                <a:spcAft>
                  <a:spcPts val="600"/>
                </a:spcAft>
              </a:pPr>
              <a:r>
                <a:rPr lang="en-GB" sz="1000" dirty="0"/>
                <a:t>Pink</a:t>
              </a:r>
            </a:p>
          </p:txBody>
        </p:sp>
      </p:grpSp>
      <p:grpSp>
        <p:nvGrpSpPr>
          <p:cNvPr id="43" name="Group 42">
            <a:extLst>
              <a:ext uri="{FF2B5EF4-FFF2-40B4-BE49-F238E27FC236}">
                <a16:creationId xmlns:a16="http://schemas.microsoft.com/office/drawing/2014/main" id="{376D7BA7-F988-4666-909E-7464B1E670A4}"/>
              </a:ext>
            </a:extLst>
          </p:cNvPr>
          <p:cNvGrpSpPr/>
          <p:nvPr userDrawn="1"/>
        </p:nvGrpSpPr>
        <p:grpSpPr>
          <a:xfrm>
            <a:off x="2237282" y="1435487"/>
            <a:ext cx="1648147" cy="4377197"/>
            <a:chOff x="2007613" y="1435485"/>
            <a:chExt cx="1648146" cy="4377197"/>
          </a:xfrm>
        </p:grpSpPr>
        <p:sp>
          <p:nvSpPr>
            <p:cNvPr id="44" name="TextBox 43">
              <a:extLst>
                <a:ext uri="{FF2B5EF4-FFF2-40B4-BE49-F238E27FC236}">
                  <a16:creationId xmlns:a16="http://schemas.microsoft.com/office/drawing/2014/main" id="{BC1060C3-3C0F-479A-93CB-2EE23BCD7FEC}"/>
                </a:ext>
              </a:extLst>
            </p:cNvPr>
            <p:cNvSpPr txBox="1"/>
            <p:nvPr userDrawn="1"/>
          </p:nvSpPr>
          <p:spPr>
            <a:xfrm>
              <a:off x="2007613" y="1435485"/>
              <a:ext cx="1648146"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Accent Colors for Infographics and charts only</a:t>
              </a:r>
            </a:p>
          </p:txBody>
        </p:sp>
        <p:sp>
          <p:nvSpPr>
            <p:cNvPr id="45" name="Rectangle 44">
              <a:extLst>
                <a:ext uri="{FF2B5EF4-FFF2-40B4-BE49-F238E27FC236}">
                  <a16:creationId xmlns:a16="http://schemas.microsoft.com/office/drawing/2014/main" id="{3335F361-87F0-48D7-BB28-F86DB0E6AC27}"/>
                </a:ext>
              </a:extLst>
            </p:cNvPr>
            <p:cNvSpPr>
              <a:spLocks/>
            </p:cNvSpPr>
            <p:nvPr userDrawn="1"/>
          </p:nvSpPr>
          <p:spPr>
            <a:xfrm>
              <a:off x="2007613" y="1809934"/>
              <a:ext cx="498229"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18</a:t>
              </a:r>
            </a:p>
            <a:p>
              <a:pPr algn="ctr"/>
              <a:r>
                <a:rPr lang="en-GB" sz="799" dirty="0">
                  <a:solidFill>
                    <a:sysClr val="windowText" lastClr="000000"/>
                  </a:solidFill>
                </a:rPr>
                <a:t>210</a:t>
              </a:r>
            </a:p>
            <a:p>
              <a:pPr algn="ctr"/>
              <a:r>
                <a:rPr lang="en-GB" sz="799" dirty="0">
                  <a:solidFill>
                    <a:sysClr val="windowText" lastClr="000000"/>
                  </a:solidFill>
                </a:rPr>
                <a:t>255</a:t>
              </a:r>
            </a:p>
          </p:txBody>
        </p:sp>
        <p:sp>
          <p:nvSpPr>
            <p:cNvPr id="46" name="TextBox 45">
              <a:extLst>
                <a:ext uri="{FF2B5EF4-FFF2-40B4-BE49-F238E27FC236}">
                  <a16:creationId xmlns:a16="http://schemas.microsoft.com/office/drawing/2014/main" id="{74B604A4-6C82-4717-8A43-3F0A9CFE3675}"/>
                </a:ext>
              </a:extLst>
            </p:cNvPr>
            <p:cNvSpPr txBox="1"/>
            <p:nvPr userDrawn="1"/>
          </p:nvSpPr>
          <p:spPr>
            <a:xfrm>
              <a:off x="2657529" y="1936324"/>
              <a:ext cx="254878" cy="153888"/>
            </a:xfrm>
            <a:prstGeom prst="rect">
              <a:avLst/>
            </a:prstGeom>
            <a:noFill/>
          </p:spPr>
          <p:txBody>
            <a:bodyPr wrap="none" lIns="0" tIns="0" rIns="0" bIns="0" rtlCol="0" anchor="ctr">
              <a:spAutoFit/>
            </a:bodyPr>
            <a:lstStyle/>
            <a:p>
              <a:pPr algn="l">
                <a:spcAft>
                  <a:spcPts val="600"/>
                </a:spcAft>
              </a:pPr>
              <a:r>
                <a:rPr lang="en-GB" sz="1000" dirty="0"/>
                <a:t>Blue</a:t>
              </a:r>
            </a:p>
          </p:txBody>
        </p:sp>
        <p:sp>
          <p:nvSpPr>
            <p:cNvPr id="47" name="Rectangle 46">
              <a:extLst>
                <a:ext uri="{FF2B5EF4-FFF2-40B4-BE49-F238E27FC236}">
                  <a16:creationId xmlns:a16="http://schemas.microsoft.com/office/drawing/2014/main" id="{E9A7B845-E279-4827-B3F5-EE88BCD7970D}"/>
                </a:ext>
              </a:extLst>
            </p:cNvPr>
            <p:cNvSpPr>
              <a:spLocks/>
            </p:cNvSpPr>
            <p:nvPr userDrawn="1"/>
          </p:nvSpPr>
          <p:spPr>
            <a:xfrm>
              <a:off x="2007613" y="2320484"/>
              <a:ext cx="498229"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81</a:t>
              </a:r>
            </a:p>
            <a:p>
              <a:pPr algn="ctr"/>
              <a:r>
                <a:rPr lang="en-GB" sz="799" dirty="0">
                  <a:solidFill>
                    <a:schemeClr val="bg1"/>
                  </a:solidFill>
                </a:rPr>
                <a:t>13</a:t>
              </a:r>
            </a:p>
            <a:p>
              <a:pPr algn="ctr"/>
              <a:r>
                <a:rPr lang="en-GB" sz="799" dirty="0">
                  <a:solidFill>
                    <a:schemeClr val="bg1"/>
                  </a:solidFill>
                </a:rPr>
                <a:t>188</a:t>
              </a:r>
            </a:p>
          </p:txBody>
        </p:sp>
        <p:sp>
          <p:nvSpPr>
            <p:cNvPr id="48" name="Rectangle 47">
              <a:extLst>
                <a:ext uri="{FF2B5EF4-FFF2-40B4-BE49-F238E27FC236}">
                  <a16:creationId xmlns:a16="http://schemas.microsoft.com/office/drawing/2014/main" id="{4A90F216-5807-405C-8D10-CD867A982C59}"/>
                </a:ext>
              </a:extLst>
            </p:cNvPr>
            <p:cNvSpPr>
              <a:spLocks/>
            </p:cNvSpPr>
            <p:nvPr userDrawn="1"/>
          </p:nvSpPr>
          <p:spPr>
            <a:xfrm>
              <a:off x="2007613" y="2835046"/>
              <a:ext cx="498229"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80</a:t>
              </a:r>
            </a:p>
            <a:p>
              <a:pPr algn="ctr"/>
              <a:r>
                <a:rPr lang="en-GB" sz="799" dirty="0">
                  <a:solidFill>
                    <a:schemeClr val="bg1"/>
                  </a:solidFill>
                </a:rPr>
                <a:t>151</a:t>
              </a:r>
            </a:p>
            <a:p>
              <a:pPr algn="ctr"/>
              <a:r>
                <a:rPr lang="en-GB" sz="799" dirty="0">
                  <a:solidFill>
                    <a:schemeClr val="bg1"/>
                  </a:solidFill>
                </a:rPr>
                <a:t>255</a:t>
              </a:r>
            </a:p>
          </p:txBody>
        </p:sp>
        <p:sp>
          <p:nvSpPr>
            <p:cNvPr id="49" name="Rectangle 48">
              <a:extLst>
                <a:ext uri="{FF2B5EF4-FFF2-40B4-BE49-F238E27FC236}">
                  <a16:creationId xmlns:a16="http://schemas.microsoft.com/office/drawing/2014/main" id="{E0A2DCA7-A9C2-4CC3-89F5-2BDFBCF3D89D}"/>
                </a:ext>
              </a:extLst>
            </p:cNvPr>
            <p:cNvSpPr>
              <a:spLocks/>
            </p:cNvSpPr>
            <p:nvPr userDrawn="1"/>
          </p:nvSpPr>
          <p:spPr>
            <a:xfrm>
              <a:off x="2007613" y="3349607"/>
              <a:ext cx="498229"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71</a:t>
              </a:r>
            </a:p>
            <a:p>
              <a:pPr algn="ctr"/>
              <a:r>
                <a:rPr lang="en-GB" sz="799" dirty="0">
                  <a:solidFill>
                    <a:schemeClr val="bg1"/>
                  </a:solidFill>
                </a:rPr>
                <a:t>13</a:t>
              </a:r>
            </a:p>
            <a:p>
              <a:pPr algn="ctr"/>
              <a:r>
                <a:rPr lang="en-GB" sz="799" dirty="0">
                  <a:solidFill>
                    <a:schemeClr val="bg1"/>
                  </a:solidFill>
                </a:rPr>
                <a:t>130</a:t>
              </a:r>
            </a:p>
          </p:txBody>
        </p:sp>
        <p:sp>
          <p:nvSpPr>
            <p:cNvPr id="50" name="Rectangle 49">
              <a:extLst>
                <a:ext uri="{FF2B5EF4-FFF2-40B4-BE49-F238E27FC236}">
                  <a16:creationId xmlns:a16="http://schemas.microsoft.com/office/drawing/2014/main" id="{FEEFA968-8540-4166-9452-A264FA919022}"/>
                </a:ext>
              </a:extLst>
            </p:cNvPr>
            <p:cNvSpPr>
              <a:spLocks/>
            </p:cNvSpPr>
            <p:nvPr userDrawn="1"/>
          </p:nvSpPr>
          <p:spPr>
            <a:xfrm>
              <a:off x="2007613" y="3864169"/>
              <a:ext cx="498229"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255</a:t>
              </a:r>
            </a:p>
            <a:p>
              <a:pPr algn="ctr"/>
              <a:r>
                <a:rPr lang="en-GB" sz="799" dirty="0">
                  <a:solidFill>
                    <a:sysClr val="windowText" lastClr="000000"/>
                  </a:solidFill>
                </a:rPr>
                <a:t>163</a:t>
              </a:r>
            </a:p>
            <a:p>
              <a:pPr algn="ctr"/>
              <a:r>
                <a:rPr lang="en-GB" sz="799" dirty="0">
                  <a:solidFill>
                    <a:sysClr val="windowText" lastClr="000000"/>
                  </a:solidFill>
                </a:rPr>
                <a:t>218</a:t>
              </a:r>
            </a:p>
          </p:txBody>
        </p:sp>
        <p:sp>
          <p:nvSpPr>
            <p:cNvPr id="51" name="Rectangle 50">
              <a:extLst>
                <a:ext uri="{FF2B5EF4-FFF2-40B4-BE49-F238E27FC236}">
                  <a16:creationId xmlns:a16="http://schemas.microsoft.com/office/drawing/2014/main" id="{3F53EE44-8E9F-4230-ADA7-72C736B7CEE6}"/>
                </a:ext>
              </a:extLst>
            </p:cNvPr>
            <p:cNvSpPr>
              <a:spLocks/>
            </p:cNvSpPr>
            <p:nvPr userDrawn="1"/>
          </p:nvSpPr>
          <p:spPr>
            <a:xfrm>
              <a:off x="2007613" y="4378729"/>
              <a:ext cx="498229"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9</a:t>
              </a:r>
            </a:p>
            <a:p>
              <a:pPr algn="ctr"/>
              <a:r>
                <a:rPr lang="en-GB" sz="799" dirty="0">
                  <a:solidFill>
                    <a:schemeClr val="bg1"/>
                  </a:solidFill>
                </a:rPr>
                <a:t>142</a:t>
              </a:r>
            </a:p>
            <a:p>
              <a:pPr algn="ctr"/>
              <a:r>
                <a:rPr lang="en-GB" sz="799" dirty="0">
                  <a:solidFill>
                    <a:schemeClr val="bg1"/>
                  </a:solidFill>
                </a:rPr>
                <a:t>126</a:t>
              </a:r>
            </a:p>
          </p:txBody>
        </p:sp>
        <p:sp>
          <p:nvSpPr>
            <p:cNvPr id="52" name="Rectangle 51">
              <a:extLst>
                <a:ext uri="{FF2B5EF4-FFF2-40B4-BE49-F238E27FC236}">
                  <a16:creationId xmlns:a16="http://schemas.microsoft.com/office/drawing/2014/main" id="{0BDDB377-D7F9-41DE-B077-AC2F3F904393}"/>
                </a:ext>
              </a:extLst>
            </p:cNvPr>
            <p:cNvSpPr>
              <a:spLocks/>
            </p:cNvSpPr>
            <p:nvPr userDrawn="1"/>
          </p:nvSpPr>
          <p:spPr>
            <a:xfrm>
              <a:off x="2007613" y="4886897"/>
              <a:ext cx="498229"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192</a:t>
              </a:r>
            </a:p>
            <a:p>
              <a:pPr algn="ctr"/>
              <a:r>
                <a:rPr lang="en-GB" sz="799" dirty="0">
                  <a:solidFill>
                    <a:schemeClr val="bg1"/>
                  </a:solidFill>
                </a:rPr>
                <a:t>174</a:t>
              </a:r>
            </a:p>
          </p:txBody>
        </p:sp>
        <p:sp>
          <p:nvSpPr>
            <p:cNvPr id="53" name="Rectangle 52">
              <a:extLst>
                <a:ext uri="{FF2B5EF4-FFF2-40B4-BE49-F238E27FC236}">
                  <a16:creationId xmlns:a16="http://schemas.microsoft.com/office/drawing/2014/main" id="{714BD556-167D-4EC4-8115-9FBAED75518F}"/>
                </a:ext>
              </a:extLst>
            </p:cNvPr>
            <p:cNvSpPr>
              <a:spLocks/>
            </p:cNvSpPr>
            <p:nvPr userDrawn="1"/>
          </p:nvSpPr>
          <p:spPr>
            <a:xfrm>
              <a:off x="2007613" y="5401457"/>
              <a:ext cx="498229"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accent3"/>
                  </a:solidFill>
                </a:rPr>
                <a:t>99</a:t>
              </a:r>
            </a:p>
            <a:p>
              <a:pPr algn="ctr"/>
              <a:r>
                <a:rPr lang="en-GB" sz="799" dirty="0">
                  <a:solidFill>
                    <a:schemeClr val="accent3"/>
                  </a:solidFill>
                </a:rPr>
                <a:t>235</a:t>
              </a:r>
            </a:p>
            <a:p>
              <a:pPr algn="ctr"/>
              <a:r>
                <a:rPr lang="en-GB" sz="799" dirty="0">
                  <a:solidFill>
                    <a:schemeClr val="accent3"/>
                  </a:solidFill>
                </a:rPr>
                <a:t>218</a:t>
              </a:r>
            </a:p>
          </p:txBody>
        </p:sp>
        <p:sp>
          <p:nvSpPr>
            <p:cNvPr id="54" name="TextBox 53">
              <a:extLst>
                <a:ext uri="{FF2B5EF4-FFF2-40B4-BE49-F238E27FC236}">
                  <a16:creationId xmlns:a16="http://schemas.microsoft.com/office/drawing/2014/main" id="{99FF26D7-88CE-41A4-BB14-85032BEFA3A6}"/>
                </a:ext>
              </a:extLst>
            </p:cNvPr>
            <p:cNvSpPr txBox="1"/>
            <p:nvPr userDrawn="1"/>
          </p:nvSpPr>
          <p:spPr>
            <a:xfrm>
              <a:off x="2657529" y="3483005"/>
              <a:ext cx="554639" cy="153888"/>
            </a:xfrm>
            <a:prstGeom prst="rect">
              <a:avLst/>
            </a:prstGeom>
            <a:noFill/>
          </p:spPr>
          <p:txBody>
            <a:bodyPr wrap="none" lIns="0" tIns="0" rIns="0" bIns="0" rtlCol="0" anchor="ctr">
              <a:spAutoFit/>
            </a:bodyPr>
            <a:lstStyle/>
            <a:p>
              <a:pPr algn="l">
                <a:spcAft>
                  <a:spcPts val="600"/>
                </a:spcAft>
              </a:pPr>
              <a:r>
                <a:rPr lang="en-GB" sz="1000" dirty="0"/>
                <a:t>Dark Pink</a:t>
              </a:r>
            </a:p>
          </p:txBody>
        </p:sp>
        <p:sp>
          <p:nvSpPr>
            <p:cNvPr id="55" name="TextBox 54">
              <a:extLst>
                <a:ext uri="{FF2B5EF4-FFF2-40B4-BE49-F238E27FC236}">
                  <a16:creationId xmlns:a16="http://schemas.microsoft.com/office/drawing/2014/main" id="{908EAC3E-37E0-4D96-8F99-BFD1D5E7E14D}"/>
                </a:ext>
              </a:extLst>
            </p:cNvPr>
            <p:cNvSpPr txBox="1"/>
            <p:nvPr userDrawn="1"/>
          </p:nvSpPr>
          <p:spPr>
            <a:xfrm>
              <a:off x="2657529" y="2460891"/>
              <a:ext cx="674865" cy="153888"/>
            </a:xfrm>
            <a:prstGeom prst="rect">
              <a:avLst/>
            </a:prstGeom>
            <a:noFill/>
          </p:spPr>
          <p:txBody>
            <a:bodyPr wrap="none" lIns="0" tIns="0" rIns="0" bIns="0" rtlCol="0" anchor="ctr">
              <a:spAutoFit/>
            </a:bodyPr>
            <a:lstStyle/>
            <a:p>
              <a:pPr algn="l">
                <a:spcAft>
                  <a:spcPts val="600"/>
                </a:spcAft>
              </a:pPr>
              <a:r>
                <a:rPr lang="en-GB" sz="1000" dirty="0"/>
                <a:t>Dark Purple</a:t>
              </a:r>
            </a:p>
          </p:txBody>
        </p:sp>
        <p:sp>
          <p:nvSpPr>
            <p:cNvPr id="56" name="TextBox 55">
              <a:extLst>
                <a:ext uri="{FF2B5EF4-FFF2-40B4-BE49-F238E27FC236}">
                  <a16:creationId xmlns:a16="http://schemas.microsoft.com/office/drawing/2014/main" id="{5F77B255-8418-4436-A58A-558711D968FD}"/>
                </a:ext>
              </a:extLst>
            </p:cNvPr>
            <p:cNvSpPr txBox="1"/>
            <p:nvPr userDrawn="1"/>
          </p:nvSpPr>
          <p:spPr>
            <a:xfrm>
              <a:off x="2657529" y="3994062"/>
              <a:ext cx="559449" cy="153888"/>
            </a:xfrm>
            <a:prstGeom prst="rect">
              <a:avLst/>
            </a:prstGeom>
            <a:noFill/>
          </p:spPr>
          <p:txBody>
            <a:bodyPr wrap="none" lIns="0" tIns="0" rIns="0" bIns="0" rtlCol="0" anchor="ctr">
              <a:spAutoFit/>
            </a:bodyPr>
            <a:lstStyle/>
            <a:p>
              <a:pPr algn="l">
                <a:spcAft>
                  <a:spcPts val="600"/>
                </a:spcAft>
              </a:pPr>
              <a:r>
                <a:rPr lang="en-GB" sz="1000" dirty="0"/>
                <a:t>Light Pink</a:t>
              </a:r>
            </a:p>
          </p:txBody>
        </p:sp>
        <p:sp>
          <p:nvSpPr>
            <p:cNvPr id="57" name="TextBox 56">
              <a:extLst>
                <a:ext uri="{FF2B5EF4-FFF2-40B4-BE49-F238E27FC236}">
                  <a16:creationId xmlns:a16="http://schemas.microsoft.com/office/drawing/2014/main" id="{01E008D5-E3F8-4131-A8F5-831027FCB80A}"/>
                </a:ext>
              </a:extLst>
            </p:cNvPr>
            <p:cNvSpPr txBox="1"/>
            <p:nvPr userDrawn="1"/>
          </p:nvSpPr>
          <p:spPr>
            <a:xfrm>
              <a:off x="2657529" y="4505119"/>
              <a:ext cx="660437" cy="153888"/>
            </a:xfrm>
            <a:prstGeom prst="rect">
              <a:avLst/>
            </a:prstGeom>
            <a:noFill/>
          </p:spPr>
          <p:txBody>
            <a:bodyPr wrap="none" lIns="0" tIns="0" rIns="0" bIns="0" rtlCol="0" anchor="ctr">
              <a:spAutoFit/>
            </a:bodyPr>
            <a:lstStyle/>
            <a:p>
              <a:pPr algn="l">
                <a:spcAft>
                  <a:spcPts val="600"/>
                </a:spcAft>
              </a:pPr>
              <a:r>
                <a:rPr lang="en-GB" sz="1000" dirty="0"/>
                <a:t>Dark Green</a:t>
              </a:r>
            </a:p>
          </p:txBody>
        </p:sp>
        <p:sp>
          <p:nvSpPr>
            <p:cNvPr id="58" name="TextBox 57">
              <a:extLst>
                <a:ext uri="{FF2B5EF4-FFF2-40B4-BE49-F238E27FC236}">
                  <a16:creationId xmlns:a16="http://schemas.microsoft.com/office/drawing/2014/main" id="{3F865C62-77EC-494F-AC78-71694BD76491}"/>
                </a:ext>
              </a:extLst>
            </p:cNvPr>
            <p:cNvSpPr txBox="1"/>
            <p:nvPr userDrawn="1"/>
          </p:nvSpPr>
          <p:spPr>
            <a:xfrm>
              <a:off x="2657529" y="2971948"/>
              <a:ext cx="679673" cy="153888"/>
            </a:xfrm>
            <a:prstGeom prst="rect">
              <a:avLst/>
            </a:prstGeom>
            <a:noFill/>
          </p:spPr>
          <p:txBody>
            <a:bodyPr wrap="none" lIns="0" tIns="0" rIns="0" bIns="0" rtlCol="0" anchor="ctr">
              <a:spAutoFit/>
            </a:bodyPr>
            <a:lstStyle/>
            <a:p>
              <a:pPr algn="l">
                <a:spcAft>
                  <a:spcPts val="600"/>
                </a:spcAft>
              </a:pPr>
              <a:r>
                <a:rPr lang="en-GB" sz="1000" dirty="0"/>
                <a:t>Light Purple</a:t>
              </a:r>
            </a:p>
          </p:txBody>
        </p:sp>
        <p:sp>
          <p:nvSpPr>
            <p:cNvPr id="59" name="TextBox 58">
              <a:extLst>
                <a:ext uri="{FF2B5EF4-FFF2-40B4-BE49-F238E27FC236}">
                  <a16:creationId xmlns:a16="http://schemas.microsoft.com/office/drawing/2014/main" id="{AF507AF3-D767-4145-8ED2-02982BC91823}"/>
                </a:ext>
              </a:extLst>
            </p:cNvPr>
            <p:cNvSpPr txBox="1"/>
            <p:nvPr userDrawn="1"/>
          </p:nvSpPr>
          <p:spPr>
            <a:xfrm>
              <a:off x="2657529" y="5016176"/>
              <a:ext cx="354264" cy="153888"/>
            </a:xfrm>
            <a:prstGeom prst="rect">
              <a:avLst/>
            </a:prstGeom>
            <a:noFill/>
          </p:spPr>
          <p:txBody>
            <a:bodyPr wrap="none" lIns="0" tIns="0" rIns="0" bIns="0" rtlCol="0" anchor="ctr">
              <a:spAutoFit/>
            </a:bodyPr>
            <a:lstStyle/>
            <a:p>
              <a:pPr algn="l">
                <a:spcAft>
                  <a:spcPts val="600"/>
                </a:spcAft>
              </a:pPr>
              <a:r>
                <a:rPr lang="en-GB" sz="1000" dirty="0"/>
                <a:t>Green</a:t>
              </a:r>
            </a:p>
          </p:txBody>
        </p:sp>
        <p:sp>
          <p:nvSpPr>
            <p:cNvPr id="60" name="TextBox 59">
              <a:extLst>
                <a:ext uri="{FF2B5EF4-FFF2-40B4-BE49-F238E27FC236}">
                  <a16:creationId xmlns:a16="http://schemas.microsoft.com/office/drawing/2014/main" id="{1DDCB9E0-92E0-4DB1-A590-422C38C09273}"/>
                </a:ext>
              </a:extLst>
            </p:cNvPr>
            <p:cNvSpPr txBox="1"/>
            <p:nvPr userDrawn="1"/>
          </p:nvSpPr>
          <p:spPr>
            <a:xfrm>
              <a:off x="2657529" y="5527233"/>
              <a:ext cx="665247" cy="153888"/>
            </a:xfrm>
            <a:prstGeom prst="rect">
              <a:avLst/>
            </a:prstGeom>
            <a:noFill/>
          </p:spPr>
          <p:txBody>
            <a:bodyPr wrap="none" lIns="0" tIns="0" rIns="0" bIns="0" rtlCol="0" anchor="ctr">
              <a:spAutoFit/>
            </a:bodyPr>
            <a:lstStyle/>
            <a:p>
              <a:pPr algn="l">
                <a:spcAft>
                  <a:spcPts val="600"/>
                </a:spcAft>
              </a:pPr>
              <a:r>
                <a:rPr lang="en-GB" sz="1000" dirty="0"/>
                <a:t>Light Green</a:t>
              </a:r>
            </a:p>
          </p:txBody>
        </p:sp>
      </p:grpSp>
      <p:grpSp>
        <p:nvGrpSpPr>
          <p:cNvPr id="61" name="Group 60">
            <a:extLst>
              <a:ext uri="{FF2B5EF4-FFF2-40B4-BE49-F238E27FC236}">
                <a16:creationId xmlns:a16="http://schemas.microsoft.com/office/drawing/2014/main" id="{8742FD4D-73C5-4A6D-9EE3-CB45975651B2}"/>
              </a:ext>
            </a:extLst>
          </p:cNvPr>
          <p:cNvGrpSpPr/>
          <p:nvPr userDrawn="1"/>
        </p:nvGrpSpPr>
        <p:grpSpPr>
          <a:xfrm>
            <a:off x="4264309" y="1435485"/>
            <a:ext cx="1500577" cy="3357790"/>
            <a:chOff x="3842071" y="1435485"/>
            <a:chExt cx="1500577" cy="3357790"/>
          </a:xfrm>
        </p:grpSpPr>
        <p:sp>
          <p:nvSpPr>
            <p:cNvPr id="62" name="TextBox 61">
              <a:extLst>
                <a:ext uri="{FF2B5EF4-FFF2-40B4-BE49-F238E27FC236}">
                  <a16:creationId xmlns:a16="http://schemas.microsoft.com/office/drawing/2014/main" id="{1C57A480-B606-4DD1-8D3C-DE158BE7BD5C}"/>
                </a:ext>
              </a:extLst>
            </p:cNvPr>
            <p:cNvSpPr txBox="1"/>
            <p:nvPr userDrawn="1"/>
          </p:nvSpPr>
          <p:spPr>
            <a:xfrm>
              <a:off x="3842071" y="1435485"/>
              <a:ext cx="1500577"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Neutrals for Infographics and charts only </a:t>
              </a:r>
            </a:p>
          </p:txBody>
        </p:sp>
        <p:sp>
          <p:nvSpPr>
            <p:cNvPr id="63" name="Rectangle 62">
              <a:extLst>
                <a:ext uri="{FF2B5EF4-FFF2-40B4-BE49-F238E27FC236}">
                  <a16:creationId xmlns:a16="http://schemas.microsoft.com/office/drawing/2014/main" id="{16F784C5-C471-4F17-9339-14EAFD43619E}"/>
                </a:ext>
              </a:extLst>
            </p:cNvPr>
            <p:cNvSpPr>
              <a:spLocks/>
            </p:cNvSpPr>
            <p:nvPr userDrawn="1"/>
          </p:nvSpPr>
          <p:spPr>
            <a:xfrm>
              <a:off x="3842071" y="1809427"/>
              <a:ext cx="498229"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51</a:t>
              </a:r>
            </a:p>
            <a:p>
              <a:pPr algn="ctr"/>
              <a:r>
                <a:rPr lang="en-GB" sz="799" dirty="0">
                  <a:solidFill>
                    <a:schemeClr val="bg1"/>
                  </a:solidFill>
                </a:rPr>
                <a:t>51</a:t>
              </a:r>
            </a:p>
            <a:p>
              <a:pPr algn="ctr"/>
              <a:r>
                <a:rPr lang="en-GB" sz="799" dirty="0">
                  <a:solidFill>
                    <a:schemeClr val="bg1"/>
                  </a:solidFill>
                </a:rPr>
                <a:t>51</a:t>
              </a:r>
            </a:p>
          </p:txBody>
        </p:sp>
        <p:sp>
          <p:nvSpPr>
            <p:cNvPr id="64" name="Rectangle 63">
              <a:extLst>
                <a:ext uri="{FF2B5EF4-FFF2-40B4-BE49-F238E27FC236}">
                  <a16:creationId xmlns:a16="http://schemas.microsoft.com/office/drawing/2014/main" id="{78800130-0010-43BD-9A59-D5736437F99D}"/>
                </a:ext>
              </a:extLst>
            </p:cNvPr>
            <p:cNvSpPr>
              <a:spLocks/>
            </p:cNvSpPr>
            <p:nvPr userDrawn="1"/>
          </p:nvSpPr>
          <p:spPr>
            <a:xfrm>
              <a:off x="3842071" y="2323989"/>
              <a:ext cx="498229"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02</a:t>
              </a:r>
            </a:p>
            <a:p>
              <a:pPr algn="ctr"/>
              <a:r>
                <a:rPr lang="en-GB" sz="799" dirty="0">
                  <a:solidFill>
                    <a:schemeClr val="bg1"/>
                  </a:solidFill>
                </a:rPr>
                <a:t>102</a:t>
              </a:r>
            </a:p>
            <a:p>
              <a:pPr algn="ctr"/>
              <a:r>
                <a:rPr lang="en-GB" sz="799" dirty="0">
                  <a:solidFill>
                    <a:schemeClr val="bg1"/>
                  </a:solidFill>
                </a:rPr>
                <a:t>102</a:t>
              </a:r>
            </a:p>
            <a:p>
              <a:pPr algn="ctr"/>
              <a:r>
                <a:rPr lang="en-GB" sz="799" dirty="0">
                  <a:solidFill>
                    <a:schemeClr val="bg1"/>
                  </a:solidFill>
                </a:rPr>
                <a:t>102</a:t>
              </a:r>
            </a:p>
            <a:p>
              <a:pPr algn="ctr"/>
              <a:endParaRPr lang="en-GB" sz="799" dirty="0">
                <a:solidFill>
                  <a:schemeClr val="bg1"/>
                </a:solidFill>
              </a:endParaRPr>
            </a:p>
          </p:txBody>
        </p:sp>
        <p:sp>
          <p:nvSpPr>
            <p:cNvPr id="65" name="Rectangle 64">
              <a:extLst>
                <a:ext uri="{FF2B5EF4-FFF2-40B4-BE49-F238E27FC236}">
                  <a16:creationId xmlns:a16="http://schemas.microsoft.com/office/drawing/2014/main" id="{E5B3F059-6423-4220-85D1-ECEBD7452A31}"/>
                </a:ext>
              </a:extLst>
            </p:cNvPr>
            <p:cNvSpPr>
              <a:spLocks/>
            </p:cNvSpPr>
            <p:nvPr userDrawn="1"/>
          </p:nvSpPr>
          <p:spPr>
            <a:xfrm>
              <a:off x="3842071" y="2838550"/>
              <a:ext cx="498229"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52</a:t>
              </a:r>
            </a:p>
            <a:p>
              <a:pPr algn="ctr"/>
              <a:r>
                <a:rPr lang="en-GB" sz="799" dirty="0">
                  <a:solidFill>
                    <a:schemeClr val="bg1"/>
                  </a:solidFill>
                </a:rPr>
                <a:t>152</a:t>
              </a:r>
            </a:p>
            <a:p>
              <a:pPr algn="ctr"/>
              <a:r>
                <a:rPr lang="en-GB" sz="799" dirty="0">
                  <a:solidFill>
                    <a:schemeClr val="bg1"/>
                  </a:solidFill>
                </a:rPr>
                <a:t>152</a:t>
              </a:r>
            </a:p>
          </p:txBody>
        </p:sp>
        <p:sp>
          <p:nvSpPr>
            <p:cNvPr id="66" name="Rectangle 65">
              <a:extLst>
                <a:ext uri="{FF2B5EF4-FFF2-40B4-BE49-F238E27FC236}">
                  <a16:creationId xmlns:a16="http://schemas.microsoft.com/office/drawing/2014/main" id="{FA0F1CED-D754-4851-9E05-0AC4EF15B853}"/>
                </a:ext>
              </a:extLst>
            </p:cNvPr>
            <p:cNvSpPr>
              <a:spLocks/>
            </p:cNvSpPr>
            <p:nvPr userDrawn="1"/>
          </p:nvSpPr>
          <p:spPr>
            <a:xfrm>
              <a:off x="3842071" y="3353112"/>
              <a:ext cx="498229"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78</a:t>
              </a:r>
            </a:p>
            <a:p>
              <a:pPr algn="ctr"/>
              <a:r>
                <a:rPr lang="en-GB" sz="799" dirty="0">
                  <a:solidFill>
                    <a:sysClr val="windowText" lastClr="000000"/>
                  </a:solidFill>
                </a:rPr>
                <a:t>178</a:t>
              </a:r>
            </a:p>
            <a:p>
              <a:pPr algn="ctr"/>
              <a:r>
                <a:rPr lang="en-GB" sz="799" dirty="0">
                  <a:solidFill>
                    <a:sysClr val="windowText" lastClr="000000"/>
                  </a:solidFill>
                </a:rPr>
                <a:t>178</a:t>
              </a:r>
            </a:p>
          </p:txBody>
        </p:sp>
        <p:sp>
          <p:nvSpPr>
            <p:cNvPr id="67" name="Rectangle 66">
              <a:extLst>
                <a:ext uri="{FF2B5EF4-FFF2-40B4-BE49-F238E27FC236}">
                  <a16:creationId xmlns:a16="http://schemas.microsoft.com/office/drawing/2014/main" id="{E0740997-FA82-48D9-9C0A-60D2ED5545CB}"/>
                </a:ext>
              </a:extLst>
            </p:cNvPr>
            <p:cNvSpPr>
              <a:spLocks/>
            </p:cNvSpPr>
            <p:nvPr userDrawn="1"/>
          </p:nvSpPr>
          <p:spPr>
            <a:xfrm>
              <a:off x="3842071" y="3867672"/>
              <a:ext cx="498229"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tx1"/>
                  </a:solidFill>
                </a:rPr>
                <a:t>229</a:t>
              </a:r>
            </a:p>
            <a:p>
              <a:pPr algn="ctr"/>
              <a:r>
                <a:rPr lang="en-GB" sz="799" dirty="0">
                  <a:solidFill>
                    <a:schemeClr val="tx1"/>
                  </a:solidFill>
                </a:rPr>
                <a:t>229</a:t>
              </a:r>
            </a:p>
            <a:p>
              <a:pPr algn="ctr"/>
              <a:r>
                <a:rPr lang="en-GB" sz="799" dirty="0">
                  <a:solidFill>
                    <a:schemeClr val="tx1"/>
                  </a:solidFill>
                </a:rPr>
                <a:t>229</a:t>
              </a:r>
            </a:p>
          </p:txBody>
        </p:sp>
        <p:sp>
          <p:nvSpPr>
            <p:cNvPr id="68" name="TextBox 67">
              <a:extLst>
                <a:ext uri="{FF2B5EF4-FFF2-40B4-BE49-F238E27FC236}">
                  <a16:creationId xmlns:a16="http://schemas.microsoft.com/office/drawing/2014/main" id="{6BBCECD7-F11C-4934-B786-E4D69C8D1FF5}"/>
                </a:ext>
              </a:extLst>
            </p:cNvPr>
            <p:cNvSpPr txBox="1"/>
            <p:nvPr userDrawn="1"/>
          </p:nvSpPr>
          <p:spPr>
            <a:xfrm>
              <a:off x="4455842" y="2971948"/>
              <a:ext cx="383118" cy="153888"/>
            </a:xfrm>
            <a:prstGeom prst="rect">
              <a:avLst/>
            </a:prstGeom>
            <a:noFill/>
          </p:spPr>
          <p:txBody>
            <a:bodyPr wrap="none" lIns="0" tIns="0" rIns="0" bIns="0" rtlCol="0" anchor="ctr">
              <a:spAutoFit/>
            </a:bodyPr>
            <a:lstStyle/>
            <a:p>
              <a:pPr algn="l">
                <a:spcAft>
                  <a:spcPts val="600"/>
                </a:spcAft>
              </a:pPr>
              <a:r>
                <a:rPr lang="en-GB" sz="1000" dirty="0"/>
                <a:t>Grey 3</a:t>
              </a:r>
            </a:p>
          </p:txBody>
        </p:sp>
        <p:sp>
          <p:nvSpPr>
            <p:cNvPr id="69" name="TextBox 68">
              <a:extLst>
                <a:ext uri="{FF2B5EF4-FFF2-40B4-BE49-F238E27FC236}">
                  <a16:creationId xmlns:a16="http://schemas.microsoft.com/office/drawing/2014/main" id="{CA72EB82-FEC0-494E-990C-FC388AFF380F}"/>
                </a:ext>
              </a:extLst>
            </p:cNvPr>
            <p:cNvSpPr txBox="1"/>
            <p:nvPr userDrawn="1"/>
          </p:nvSpPr>
          <p:spPr>
            <a:xfrm>
              <a:off x="4455842" y="1949834"/>
              <a:ext cx="383118" cy="153888"/>
            </a:xfrm>
            <a:prstGeom prst="rect">
              <a:avLst/>
            </a:prstGeom>
            <a:noFill/>
          </p:spPr>
          <p:txBody>
            <a:bodyPr wrap="none" lIns="0" tIns="0" rIns="0" bIns="0" rtlCol="0" anchor="ctr">
              <a:spAutoFit/>
            </a:bodyPr>
            <a:lstStyle/>
            <a:p>
              <a:pPr algn="l">
                <a:spcAft>
                  <a:spcPts val="600"/>
                </a:spcAft>
              </a:pPr>
              <a:r>
                <a:rPr lang="en-GB" sz="1000" dirty="0"/>
                <a:t>Grey 1</a:t>
              </a:r>
            </a:p>
          </p:txBody>
        </p:sp>
        <p:sp>
          <p:nvSpPr>
            <p:cNvPr id="70" name="TextBox 69">
              <a:extLst>
                <a:ext uri="{FF2B5EF4-FFF2-40B4-BE49-F238E27FC236}">
                  <a16:creationId xmlns:a16="http://schemas.microsoft.com/office/drawing/2014/main" id="{F200AEF1-A91B-4302-9237-8FAD545E8D2C}"/>
                </a:ext>
              </a:extLst>
            </p:cNvPr>
            <p:cNvSpPr txBox="1"/>
            <p:nvPr userDrawn="1"/>
          </p:nvSpPr>
          <p:spPr>
            <a:xfrm>
              <a:off x="4455842" y="3483005"/>
              <a:ext cx="383118" cy="153888"/>
            </a:xfrm>
            <a:prstGeom prst="rect">
              <a:avLst/>
            </a:prstGeom>
            <a:noFill/>
          </p:spPr>
          <p:txBody>
            <a:bodyPr wrap="none" lIns="0" tIns="0" rIns="0" bIns="0" rtlCol="0" anchor="ctr">
              <a:spAutoFit/>
            </a:bodyPr>
            <a:lstStyle/>
            <a:p>
              <a:pPr algn="l">
                <a:spcAft>
                  <a:spcPts val="600"/>
                </a:spcAft>
              </a:pPr>
              <a:r>
                <a:rPr lang="en-GB" sz="1000" dirty="0"/>
                <a:t>Grey 4</a:t>
              </a:r>
            </a:p>
          </p:txBody>
        </p:sp>
        <p:sp>
          <p:nvSpPr>
            <p:cNvPr id="71" name="TextBox 70">
              <a:extLst>
                <a:ext uri="{FF2B5EF4-FFF2-40B4-BE49-F238E27FC236}">
                  <a16:creationId xmlns:a16="http://schemas.microsoft.com/office/drawing/2014/main" id="{539D18EE-90FF-4E5E-A08B-B10AE2C06151}"/>
                </a:ext>
              </a:extLst>
            </p:cNvPr>
            <p:cNvSpPr txBox="1"/>
            <p:nvPr userDrawn="1"/>
          </p:nvSpPr>
          <p:spPr>
            <a:xfrm>
              <a:off x="4455842" y="3994062"/>
              <a:ext cx="383118" cy="153888"/>
            </a:xfrm>
            <a:prstGeom prst="rect">
              <a:avLst/>
            </a:prstGeom>
            <a:noFill/>
          </p:spPr>
          <p:txBody>
            <a:bodyPr wrap="none" lIns="0" tIns="0" rIns="0" bIns="0" rtlCol="0" anchor="ctr">
              <a:spAutoFit/>
            </a:bodyPr>
            <a:lstStyle/>
            <a:p>
              <a:pPr algn="l">
                <a:spcAft>
                  <a:spcPts val="600"/>
                </a:spcAft>
              </a:pPr>
              <a:r>
                <a:rPr lang="en-GB" sz="1000" dirty="0"/>
                <a:t>Grey 5</a:t>
              </a:r>
            </a:p>
          </p:txBody>
        </p:sp>
        <p:sp>
          <p:nvSpPr>
            <p:cNvPr id="72" name="TextBox 71">
              <a:extLst>
                <a:ext uri="{FF2B5EF4-FFF2-40B4-BE49-F238E27FC236}">
                  <a16:creationId xmlns:a16="http://schemas.microsoft.com/office/drawing/2014/main" id="{9B702DFC-3763-40E5-9D3F-F6CCA2101F9B}"/>
                </a:ext>
              </a:extLst>
            </p:cNvPr>
            <p:cNvSpPr txBox="1"/>
            <p:nvPr userDrawn="1"/>
          </p:nvSpPr>
          <p:spPr>
            <a:xfrm>
              <a:off x="4455842" y="2460891"/>
              <a:ext cx="383118" cy="153888"/>
            </a:xfrm>
            <a:prstGeom prst="rect">
              <a:avLst/>
            </a:prstGeom>
            <a:noFill/>
          </p:spPr>
          <p:txBody>
            <a:bodyPr wrap="none" lIns="0" tIns="0" rIns="0" bIns="0" rtlCol="0" anchor="ctr">
              <a:spAutoFit/>
            </a:bodyPr>
            <a:lstStyle/>
            <a:p>
              <a:pPr algn="l">
                <a:spcAft>
                  <a:spcPts val="600"/>
                </a:spcAft>
              </a:pPr>
              <a:r>
                <a:rPr lang="en-GB" sz="1000" dirty="0"/>
                <a:t>Grey 2</a:t>
              </a:r>
            </a:p>
          </p:txBody>
        </p:sp>
        <p:sp>
          <p:nvSpPr>
            <p:cNvPr id="73" name="Rectangle 72">
              <a:extLst>
                <a:ext uri="{FF2B5EF4-FFF2-40B4-BE49-F238E27FC236}">
                  <a16:creationId xmlns:a16="http://schemas.microsoft.com/office/drawing/2014/main" id="{B100E486-6869-4606-80CB-8DDAEC604BBA}"/>
                </a:ext>
              </a:extLst>
            </p:cNvPr>
            <p:cNvSpPr>
              <a:spLocks/>
            </p:cNvSpPr>
            <p:nvPr userDrawn="1"/>
          </p:nvSpPr>
          <p:spPr>
            <a:xfrm>
              <a:off x="3842071" y="4382050"/>
              <a:ext cx="498229"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tx1"/>
                  </a:solidFill>
                </a:rPr>
                <a:t>255</a:t>
              </a:r>
            </a:p>
            <a:p>
              <a:pPr algn="ctr"/>
              <a:r>
                <a:rPr lang="en-GB" sz="799" dirty="0">
                  <a:solidFill>
                    <a:schemeClr val="tx1"/>
                  </a:solidFill>
                </a:rPr>
                <a:t>255</a:t>
              </a:r>
            </a:p>
            <a:p>
              <a:pPr algn="ctr"/>
              <a:r>
                <a:rPr lang="en-GB" sz="799" dirty="0">
                  <a:solidFill>
                    <a:schemeClr val="tx1"/>
                  </a:solidFill>
                </a:rPr>
                <a:t>255</a:t>
              </a:r>
            </a:p>
          </p:txBody>
        </p:sp>
        <p:sp>
          <p:nvSpPr>
            <p:cNvPr id="74" name="TextBox 73">
              <a:extLst>
                <a:ext uri="{FF2B5EF4-FFF2-40B4-BE49-F238E27FC236}">
                  <a16:creationId xmlns:a16="http://schemas.microsoft.com/office/drawing/2014/main" id="{BFC5A060-16C0-437F-ABBC-D317FDE11F09}"/>
                </a:ext>
              </a:extLst>
            </p:cNvPr>
            <p:cNvSpPr txBox="1"/>
            <p:nvPr userDrawn="1"/>
          </p:nvSpPr>
          <p:spPr>
            <a:xfrm>
              <a:off x="4455842" y="4508440"/>
              <a:ext cx="327013" cy="153888"/>
            </a:xfrm>
            <a:prstGeom prst="rect">
              <a:avLst/>
            </a:prstGeom>
            <a:noFill/>
          </p:spPr>
          <p:txBody>
            <a:bodyPr wrap="none" lIns="0" tIns="0" rIns="0" bIns="0" rtlCol="0" anchor="ctr">
              <a:spAutoFit/>
            </a:bodyPr>
            <a:lstStyle/>
            <a:p>
              <a:pPr algn="l">
                <a:spcAft>
                  <a:spcPts val="600"/>
                </a:spcAft>
              </a:pPr>
              <a:r>
                <a:rPr lang="en-GB" sz="1000" dirty="0"/>
                <a:t>White</a:t>
              </a:r>
            </a:p>
          </p:txBody>
        </p:sp>
      </p:grpSp>
      <p:sp>
        <p:nvSpPr>
          <p:cNvPr id="75" name="Rectangle 74">
            <a:extLst>
              <a:ext uri="{FF2B5EF4-FFF2-40B4-BE49-F238E27FC236}">
                <a16:creationId xmlns:a16="http://schemas.microsoft.com/office/drawing/2014/main" id="{7C47067D-6D7D-4614-B396-55BF762EEA52}"/>
              </a:ext>
            </a:extLst>
          </p:cNvPr>
          <p:cNvSpPr/>
          <p:nvPr userDrawn="1"/>
        </p:nvSpPr>
        <p:spPr>
          <a:xfrm>
            <a:off x="6088251" y="2801735"/>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6" name="Rectangle 75">
            <a:extLst>
              <a:ext uri="{FF2B5EF4-FFF2-40B4-BE49-F238E27FC236}">
                <a16:creationId xmlns:a16="http://schemas.microsoft.com/office/drawing/2014/main" id="{F1E20DB8-4C5C-4EB5-B83B-D8CCBF35FBB5}"/>
              </a:ext>
            </a:extLst>
          </p:cNvPr>
          <p:cNvSpPr/>
          <p:nvPr userDrawn="1"/>
        </p:nvSpPr>
        <p:spPr>
          <a:xfrm>
            <a:off x="7686023" y="2801735"/>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7" name="TextBox 76">
            <a:extLst>
              <a:ext uri="{FF2B5EF4-FFF2-40B4-BE49-F238E27FC236}">
                <a16:creationId xmlns:a16="http://schemas.microsoft.com/office/drawing/2014/main" id="{8CBA3CFC-8261-410A-8137-9E8FF7099DA9}"/>
              </a:ext>
            </a:extLst>
          </p:cNvPr>
          <p:cNvSpPr txBox="1"/>
          <p:nvPr userDrawn="1"/>
        </p:nvSpPr>
        <p:spPr>
          <a:xfrm>
            <a:off x="6088251" y="3257610"/>
            <a:ext cx="1147751" cy="138499"/>
          </a:xfrm>
          <a:prstGeom prst="rect">
            <a:avLst/>
          </a:prstGeom>
          <a:noFill/>
        </p:spPr>
        <p:txBody>
          <a:bodyPr wrap="square" lIns="0" tIns="0" rIns="0" bIns="0" rtlCol="0" anchor="t">
            <a:noAutofit/>
          </a:bodyPr>
          <a:lstStyle/>
          <a:p>
            <a:pPr algn="l">
              <a:spcAft>
                <a:spcPts val="600"/>
              </a:spcAft>
            </a:pPr>
            <a:r>
              <a:rPr lang="en-GB" sz="900" dirty="0"/>
              <a:t>Purple/Cobalt gradient</a:t>
            </a:r>
          </a:p>
        </p:txBody>
      </p:sp>
      <p:sp>
        <p:nvSpPr>
          <p:cNvPr id="78" name="TextBox 77">
            <a:extLst>
              <a:ext uri="{FF2B5EF4-FFF2-40B4-BE49-F238E27FC236}">
                <a16:creationId xmlns:a16="http://schemas.microsoft.com/office/drawing/2014/main" id="{9CFC3585-ABFA-4AE6-A10E-EEDCCDD34C22}"/>
              </a:ext>
            </a:extLst>
          </p:cNvPr>
          <p:cNvSpPr txBox="1"/>
          <p:nvPr userDrawn="1"/>
        </p:nvSpPr>
        <p:spPr>
          <a:xfrm>
            <a:off x="7671088" y="3257610"/>
            <a:ext cx="1333698" cy="138499"/>
          </a:xfrm>
          <a:prstGeom prst="rect">
            <a:avLst/>
          </a:prstGeom>
          <a:noFill/>
        </p:spPr>
        <p:txBody>
          <a:bodyPr wrap="square" lIns="0" tIns="0" rIns="0" bIns="0" rtlCol="0" anchor="t">
            <a:noAutofit/>
          </a:bodyPr>
          <a:lstStyle/>
          <a:p>
            <a:pPr algn="l">
              <a:spcAft>
                <a:spcPts val="600"/>
              </a:spcAft>
            </a:pPr>
            <a:r>
              <a:rPr lang="en-GB" sz="900" dirty="0"/>
              <a:t>Pacific/Light Blue gradient</a:t>
            </a:r>
          </a:p>
        </p:txBody>
      </p:sp>
      <p:sp>
        <p:nvSpPr>
          <p:cNvPr id="79" name="TextBox 78">
            <a:extLst>
              <a:ext uri="{FF2B5EF4-FFF2-40B4-BE49-F238E27FC236}">
                <a16:creationId xmlns:a16="http://schemas.microsoft.com/office/drawing/2014/main" id="{F82566FC-9890-4B72-BE08-8CFEB585DB07}"/>
              </a:ext>
            </a:extLst>
          </p:cNvPr>
          <p:cNvSpPr txBox="1"/>
          <p:nvPr userDrawn="1"/>
        </p:nvSpPr>
        <p:spPr>
          <a:xfrm>
            <a:off x="6088250" y="1404113"/>
            <a:ext cx="3318943" cy="1300356"/>
          </a:xfrm>
          <a:prstGeom prst="rect">
            <a:avLst/>
          </a:prstGeom>
          <a:noFill/>
        </p:spPr>
        <p:txBody>
          <a:bodyPr wrap="square" lIns="0" tIns="0" rIns="0" bIns="0" rtlCol="0">
            <a:spAutoFit/>
          </a:bodyPr>
          <a:lstStyle/>
          <a:p>
            <a:pPr algn="l">
              <a:spcAft>
                <a:spcPts val="300"/>
              </a:spcAft>
            </a:pPr>
            <a:r>
              <a:rPr lang="en-US" sz="900" b="1" dirty="0">
                <a:solidFill>
                  <a:sysClr val="windowText" lastClr="000000"/>
                </a:solidFill>
              </a:rPr>
              <a:t>Gradients</a:t>
            </a:r>
          </a:p>
          <a:p>
            <a:pPr marL="171448" indent="-171448" algn="l">
              <a:spcAft>
                <a:spcPts val="300"/>
              </a:spcAft>
              <a:buFont typeface="Arial" panose="020B0604020202020204" pitchFamily="34" charset="0"/>
              <a:buChar char="•"/>
            </a:pPr>
            <a:r>
              <a:rPr lang="en-GB" sz="900" b="0" dirty="0">
                <a:solidFill>
                  <a:sysClr val="windowText" lastClr="000000"/>
                </a:solidFill>
              </a:rPr>
              <a:t>The </a:t>
            </a:r>
            <a:r>
              <a:rPr lang="en-GB" sz="900" b="0" dirty="0" err="1">
                <a:solidFill>
                  <a:sysClr val="windowText" lastClr="000000"/>
                </a:solidFill>
              </a:rPr>
              <a:t>colors</a:t>
            </a:r>
            <a:r>
              <a:rPr lang="en-GB" sz="900" b="0" dirty="0">
                <a:solidFill>
                  <a:sysClr val="windowText" lastClr="000000"/>
                </a:solidFill>
              </a:rPr>
              <a:t> are applied at both ends of the gradient, at 0% and 100%locations</a:t>
            </a:r>
          </a:p>
          <a:p>
            <a:pPr marL="171448" indent="-171448" algn="l">
              <a:spcAft>
                <a:spcPts val="300"/>
              </a:spcAft>
              <a:buFont typeface="Arial" panose="020B0604020202020204" pitchFamily="34" charset="0"/>
              <a:buChar char="•"/>
            </a:pPr>
            <a:r>
              <a:rPr lang="en-GB" sz="900" b="0" dirty="0">
                <a:solidFill>
                  <a:sysClr val="windowText" lastClr="000000"/>
                </a:solidFill>
              </a:rPr>
              <a:t>The mid-point is at 50%</a:t>
            </a:r>
          </a:p>
          <a:p>
            <a:pPr marL="171448" indent="-171448" algn="l">
              <a:spcAft>
                <a:spcPts val="300"/>
              </a:spcAft>
              <a:buFont typeface="Arial" panose="020B0604020202020204" pitchFamily="34" charset="0"/>
              <a:buChar char="•"/>
            </a:pPr>
            <a:r>
              <a:rPr lang="en-GB" sz="900" b="0" dirty="0">
                <a:solidFill>
                  <a:sysClr val="windowText" lastClr="000000"/>
                </a:solidFill>
              </a:rPr>
              <a:t>The gradients are used at a 0º angle</a:t>
            </a:r>
          </a:p>
          <a:p>
            <a:pPr marL="171448" indent="-171448" algn="l">
              <a:spcAft>
                <a:spcPts val="300"/>
              </a:spcAft>
              <a:buFont typeface="Arial" panose="020B0604020202020204" pitchFamily="34" charset="0"/>
              <a:buChar char="•"/>
            </a:pPr>
            <a:r>
              <a:rPr lang="en-GB" sz="900" b="0" dirty="0">
                <a:solidFill>
                  <a:sysClr val="windowText" lastClr="000000"/>
                </a:solidFill>
              </a:rPr>
              <a:t>Use the linear gradient, never radial</a:t>
            </a:r>
          </a:p>
          <a:p>
            <a:pPr marL="171448" indent="-171448" algn="l">
              <a:spcAft>
                <a:spcPts val="300"/>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80" name="TextBox 79">
            <a:extLst>
              <a:ext uri="{FF2B5EF4-FFF2-40B4-BE49-F238E27FC236}">
                <a16:creationId xmlns:a16="http://schemas.microsoft.com/office/drawing/2014/main" id="{B8F5D1B3-C998-4ACA-9985-7436032C658D}"/>
              </a:ext>
            </a:extLst>
          </p:cNvPr>
          <p:cNvSpPr txBox="1"/>
          <p:nvPr userDrawn="1"/>
        </p:nvSpPr>
        <p:spPr>
          <a:xfrm>
            <a:off x="6088253" y="3614652"/>
            <a:ext cx="1077218"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Traffic Light Palette</a:t>
            </a:r>
            <a:endParaRPr lang="en-US" sz="900" b="0" dirty="0">
              <a:solidFill>
                <a:sysClr val="windowText" lastClr="000000"/>
              </a:solidFill>
            </a:endParaRPr>
          </a:p>
        </p:txBody>
      </p:sp>
      <p:sp>
        <p:nvSpPr>
          <p:cNvPr id="81" name="Rectangle 80">
            <a:extLst>
              <a:ext uri="{FF2B5EF4-FFF2-40B4-BE49-F238E27FC236}">
                <a16:creationId xmlns:a16="http://schemas.microsoft.com/office/drawing/2014/main" id="{7A19278E-80D6-4EAE-9C16-04A195593FCD}"/>
              </a:ext>
            </a:extLst>
          </p:cNvPr>
          <p:cNvSpPr>
            <a:spLocks/>
          </p:cNvSpPr>
          <p:nvPr userDrawn="1"/>
        </p:nvSpPr>
        <p:spPr>
          <a:xfrm>
            <a:off x="7781625" y="3867253"/>
            <a:ext cx="65121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38</a:t>
            </a:r>
          </a:p>
          <a:p>
            <a:pPr algn="ctr"/>
            <a:r>
              <a:rPr lang="en-GB" sz="799" dirty="0">
                <a:solidFill>
                  <a:schemeClr val="bg1"/>
                </a:solidFill>
              </a:rPr>
              <a:t>153</a:t>
            </a:r>
          </a:p>
          <a:p>
            <a:pPr algn="ctr"/>
            <a:r>
              <a:rPr lang="en-GB" sz="799" dirty="0">
                <a:solidFill>
                  <a:schemeClr val="bg1"/>
                </a:solidFill>
              </a:rPr>
              <a:t>36</a:t>
            </a:r>
          </a:p>
        </p:txBody>
      </p:sp>
      <p:sp>
        <p:nvSpPr>
          <p:cNvPr id="82" name="Rectangle 81">
            <a:extLst>
              <a:ext uri="{FF2B5EF4-FFF2-40B4-BE49-F238E27FC236}">
                <a16:creationId xmlns:a16="http://schemas.microsoft.com/office/drawing/2014/main" id="{78D6DEF7-07C8-4597-A905-842B08D28F0A}"/>
              </a:ext>
            </a:extLst>
          </p:cNvPr>
          <p:cNvSpPr>
            <a:spLocks/>
          </p:cNvSpPr>
          <p:nvPr userDrawn="1"/>
        </p:nvSpPr>
        <p:spPr>
          <a:xfrm>
            <a:off x="6934938" y="3867253"/>
            <a:ext cx="65121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41</a:t>
            </a:r>
          </a:p>
          <a:p>
            <a:pPr algn="ctr"/>
            <a:r>
              <a:rPr lang="en-GB" sz="799" dirty="0">
                <a:solidFill>
                  <a:schemeClr val="bg1"/>
                </a:solidFill>
              </a:rPr>
              <a:t>196</a:t>
            </a:r>
          </a:p>
          <a:p>
            <a:pPr algn="ctr"/>
            <a:r>
              <a:rPr lang="en-GB" sz="799" dirty="0">
                <a:solidFill>
                  <a:schemeClr val="bg1"/>
                </a:solidFill>
              </a:rPr>
              <a:t>77</a:t>
            </a:r>
          </a:p>
        </p:txBody>
      </p:sp>
      <p:sp>
        <p:nvSpPr>
          <p:cNvPr id="83" name="Rectangle 82">
            <a:extLst>
              <a:ext uri="{FF2B5EF4-FFF2-40B4-BE49-F238E27FC236}">
                <a16:creationId xmlns:a16="http://schemas.microsoft.com/office/drawing/2014/main" id="{809EF0A9-6427-4B0B-9951-B942321353CB}"/>
              </a:ext>
            </a:extLst>
          </p:cNvPr>
          <p:cNvSpPr>
            <a:spLocks/>
          </p:cNvSpPr>
          <p:nvPr userDrawn="1"/>
        </p:nvSpPr>
        <p:spPr>
          <a:xfrm>
            <a:off x="6088253" y="3867253"/>
            <a:ext cx="65121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37</a:t>
            </a:r>
          </a:p>
          <a:p>
            <a:pPr algn="ctr"/>
            <a:r>
              <a:rPr lang="en-GB" sz="799" dirty="0">
                <a:solidFill>
                  <a:schemeClr val="bg1"/>
                </a:solidFill>
              </a:rPr>
              <a:t>33</a:t>
            </a:r>
          </a:p>
          <a:p>
            <a:pPr algn="ctr"/>
            <a:r>
              <a:rPr lang="en-GB" sz="799" dirty="0">
                <a:solidFill>
                  <a:schemeClr val="bg1"/>
                </a:solidFill>
              </a:rPr>
              <a:t>36</a:t>
            </a:r>
          </a:p>
        </p:txBody>
      </p:sp>
      <p:sp>
        <p:nvSpPr>
          <p:cNvPr id="84" name="TextBox 83">
            <a:extLst>
              <a:ext uri="{FF2B5EF4-FFF2-40B4-BE49-F238E27FC236}">
                <a16:creationId xmlns:a16="http://schemas.microsoft.com/office/drawing/2014/main" id="{1D8A2577-F141-44A2-B6A7-1718EF8E4ED3}"/>
              </a:ext>
            </a:extLst>
          </p:cNvPr>
          <p:cNvSpPr txBox="1"/>
          <p:nvPr userDrawn="1"/>
        </p:nvSpPr>
        <p:spPr>
          <a:xfrm>
            <a:off x="6088251" y="4442243"/>
            <a:ext cx="3318941" cy="492443"/>
          </a:xfrm>
          <a:prstGeom prst="rect">
            <a:avLst/>
          </a:prstGeom>
          <a:noFill/>
        </p:spPr>
        <p:txBody>
          <a:bodyPr wrap="square" lIns="0" tIns="0" rIns="0" bIns="0" rtlCol="0">
            <a:spAutoFit/>
          </a:bodyPr>
          <a:lstStyle/>
          <a:p>
            <a:pPr algn="l">
              <a:spcAft>
                <a:spcPts val="300"/>
              </a:spcAft>
            </a:pPr>
            <a:r>
              <a:rPr lang="en-US" sz="900" b="1" dirty="0">
                <a:solidFill>
                  <a:sysClr val="windowText" lastClr="000000"/>
                </a:solidFill>
              </a:rPr>
              <a:t>Potential chart color order</a:t>
            </a:r>
          </a:p>
          <a:p>
            <a:pPr marL="171448" indent="-171448" algn="l">
              <a:spcAft>
                <a:spcPts val="300"/>
              </a:spcAft>
              <a:buFont typeface="Arial" panose="020B0604020202020204" pitchFamily="34" charset="0"/>
              <a:buChar char="•"/>
            </a:pPr>
            <a:r>
              <a:rPr lang="en-US" sz="900" b="0" dirty="0">
                <a:solidFill>
                  <a:sysClr val="windowText" lastClr="000000"/>
                </a:solidFill>
              </a:rPr>
              <a:t>Prioritize our blues, but they don’t have to be used all at once</a:t>
            </a:r>
          </a:p>
          <a:p>
            <a:pPr marL="171448" indent="-171448" algn="l">
              <a:spcAft>
                <a:spcPts val="300"/>
              </a:spcAft>
              <a:buFont typeface="Arial" panose="020B0604020202020204" pitchFamily="34" charset="0"/>
              <a:buChar char="•"/>
            </a:pPr>
            <a:r>
              <a:rPr lang="en-US" sz="900" b="0" dirty="0">
                <a:solidFill>
                  <a:sysClr val="windowText" lastClr="000000"/>
                </a:solidFill>
              </a:rPr>
              <a:t>Mix light, mid and dark tones within data sets</a:t>
            </a:r>
          </a:p>
        </p:txBody>
      </p:sp>
      <p:grpSp>
        <p:nvGrpSpPr>
          <p:cNvPr id="4" name="Group 3">
            <a:extLst>
              <a:ext uri="{FF2B5EF4-FFF2-40B4-BE49-F238E27FC236}">
                <a16:creationId xmlns:a16="http://schemas.microsoft.com/office/drawing/2014/main" id="{E7F4307E-8DC7-4A94-ABA2-93BF21A194C0}"/>
              </a:ext>
            </a:extLst>
          </p:cNvPr>
          <p:cNvGrpSpPr/>
          <p:nvPr userDrawn="1"/>
        </p:nvGrpSpPr>
        <p:grpSpPr>
          <a:xfrm>
            <a:off x="6088251" y="5138765"/>
            <a:ext cx="3318941" cy="868337"/>
            <a:chOff x="6088252" y="5261186"/>
            <a:chExt cx="2681306" cy="745914"/>
          </a:xfrm>
        </p:grpSpPr>
        <p:sp>
          <p:nvSpPr>
            <p:cNvPr id="85" name="Rectangle 84">
              <a:extLst>
                <a:ext uri="{FF2B5EF4-FFF2-40B4-BE49-F238E27FC236}">
                  <a16:creationId xmlns:a16="http://schemas.microsoft.com/office/drawing/2014/main" id="{283C138C-9744-4057-B347-B658A31DF93E}"/>
                </a:ext>
              </a:extLst>
            </p:cNvPr>
            <p:cNvSpPr/>
            <p:nvPr userDrawn="1"/>
          </p:nvSpPr>
          <p:spPr>
            <a:xfrm>
              <a:off x="6875898" y="5261186"/>
              <a:ext cx="318368" cy="320103"/>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30</a:t>
              </a:r>
            </a:p>
            <a:p>
              <a:pPr algn="ctr">
                <a:lnSpc>
                  <a:spcPct val="90000"/>
                </a:lnSpc>
              </a:pPr>
              <a:r>
                <a:rPr lang="en-GB" sz="700">
                  <a:solidFill>
                    <a:schemeClr val="bg1"/>
                  </a:solidFill>
                </a:rPr>
                <a:t>73</a:t>
              </a:r>
            </a:p>
            <a:p>
              <a:pPr algn="ctr">
                <a:lnSpc>
                  <a:spcPct val="90000"/>
                </a:lnSpc>
              </a:pPr>
              <a:r>
                <a:rPr lang="en-GB" sz="700">
                  <a:solidFill>
                    <a:schemeClr val="bg1"/>
                  </a:solidFill>
                </a:rPr>
                <a:t>226</a:t>
              </a:r>
              <a:endParaRPr lang="en-GB" sz="700" dirty="0">
                <a:solidFill>
                  <a:schemeClr val="bg1"/>
                </a:solidFill>
              </a:endParaRPr>
            </a:p>
          </p:txBody>
        </p:sp>
        <p:sp>
          <p:nvSpPr>
            <p:cNvPr id="86" name="Rectangle 85">
              <a:extLst>
                <a:ext uri="{FF2B5EF4-FFF2-40B4-BE49-F238E27FC236}">
                  <a16:creationId xmlns:a16="http://schemas.microsoft.com/office/drawing/2014/main" id="{3C79581B-1628-4CDD-B36E-34EBC052AC88}"/>
                </a:ext>
              </a:extLst>
            </p:cNvPr>
            <p:cNvSpPr/>
            <p:nvPr userDrawn="1"/>
          </p:nvSpPr>
          <p:spPr>
            <a:xfrm>
              <a:off x="6088252" y="5261186"/>
              <a:ext cx="318368" cy="32010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51</a:t>
              </a:r>
            </a:p>
            <a:p>
              <a:pPr algn="ctr">
                <a:lnSpc>
                  <a:spcPct val="90000"/>
                </a:lnSpc>
              </a:pPr>
              <a:r>
                <a:rPr lang="en-GB" sz="700">
                  <a:solidFill>
                    <a:schemeClr val="bg1"/>
                  </a:solidFill>
                </a:rPr>
                <a:t>141</a:t>
              </a:r>
              <a:endParaRPr lang="en-GB" sz="700" dirty="0">
                <a:solidFill>
                  <a:schemeClr val="bg1"/>
                </a:solidFill>
              </a:endParaRPr>
            </a:p>
          </p:txBody>
        </p:sp>
        <p:sp>
          <p:nvSpPr>
            <p:cNvPr id="87" name="Rectangle 86">
              <a:extLst>
                <a:ext uri="{FF2B5EF4-FFF2-40B4-BE49-F238E27FC236}">
                  <a16:creationId xmlns:a16="http://schemas.microsoft.com/office/drawing/2014/main" id="{0E4BFD7D-7B7C-42AB-BBA6-C3D81ED28AD3}"/>
                </a:ext>
              </a:extLst>
            </p:cNvPr>
            <p:cNvSpPr/>
            <p:nvPr userDrawn="1"/>
          </p:nvSpPr>
          <p:spPr>
            <a:xfrm>
              <a:off x="7269722" y="5261186"/>
              <a:ext cx="318368" cy="320103"/>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118</a:t>
              </a:r>
            </a:p>
            <a:p>
              <a:pPr algn="ctr">
                <a:lnSpc>
                  <a:spcPct val="90000"/>
                </a:lnSpc>
              </a:pPr>
              <a:r>
                <a:rPr lang="en-GB" sz="700">
                  <a:solidFill>
                    <a:sysClr val="windowText" lastClr="000000"/>
                  </a:solidFill>
                </a:rPr>
                <a:t>210</a:t>
              </a:r>
            </a:p>
            <a:p>
              <a:pPr algn="ctr">
                <a:lnSpc>
                  <a:spcPct val="90000"/>
                </a:lnSpc>
              </a:pPr>
              <a:r>
                <a:rPr lang="en-GB" sz="700">
                  <a:solidFill>
                    <a:sysClr val="windowText" lastClr="000000"/>
                  </a:solidFill>
                </a:rPr>
                <a:t>255</a:t>
              </a:r>
              <a:endParaRPr lang="en-GB" sz="700" dirty="0">
                <a:solidFill>
                  <a:sysClr val="windowText" lastClr="000000"/>
                </a:solidFill>
              </a:endParaRPr>
            </a:p>
          </p:txBody>
        </p:sp>
        <p:sp>
          <p:nvSpPr>
            <p:cNvPr id="88" name="Rectangle 87">
              <a:extLst>
                <a:ext uri="{FF2B5EF4-FFF2-40B4-BE49-F238E27FC236}">
                  <a16:creationId xmlns:a16="http://schemas.microsoft.com/office/drawing/2014/main" id="{B5D917B2-29BF-4083-AFA3-34EA48DE2D13}"/>
                </a:ext>
              </a:extLst>
            </p:cNvPr>
            <p:cNvSpPr/>
            <p:nvPr userDrawn="1"/>
          </p:nvSpPr>
          <p:spPr>
            <a:xfrm>
              <a:off x="8057367" y="5261186"/>
              <a:ext cx="318368" cy="320103"/>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80</a:t>
              </a:r>
            </a:p>
            <a:p>
              <a:pPr algn="ctr">
                <a:lnSpc>
                  <a:spcPct val="90000"/>
                </a:lnSpc>
              </a:pPr>
              <a:r>
                <a:rPr lang="en-GB" sz="700">
                  <a:solidFill>
                    <a:schemeClr val="bg1"/>
                  </a:solidFill>
                </a:rPr>
                <a:t>151</a:t>
              </a:r>
            </a:p>
            <a:p>
              <a:pPr algn="ctr">
                <a:lnSpc>
                  <a:spcPct val="90000"/>
                </a:lnSpc>
              </a:pPr>
              <a:r>
                <a:rPr lang="en-GB" sz="700">
                  <a:solidFill>
                    <a:schemeClr val="bg1"/>
                  </a:solidFill>
                </a:rPr>
                <a:t>255</a:t>
              </a:r>
              <a:endParaRPr lang="en-GB" sz="700" dirty="0">
                <a:solidFill>
                  <a:schemeClr val="bg1"/>
                </a:solidFill>
              </a:endParaRPr>
            </a:p>
          </p:txBody>
        </p:sp>
        <p:sp>
          <p:nvSpPr>
            <p:cNvPr id="89" name="Rectangle 88">
              <a:extLst>
                <a:ext uri="{FF2B5EF4-FFF2-40B4-BE49-F238E27FC236}">
                  <a16:creationId xmlns:a16="http://schemas.microsoft.com/office/drawing/2014/main" id="{A2D7C73A-67D8-4FED-800A-7C73CBDB5101}"/>
                </a:ext>
              </a:extLst>
            </p:cNvPr>
            <p:cNvSpPr/>
            <p:nvPr userDrawn="1"/>
          </p:nvSpPr>
          <p:spPr>
            <a:xfrm>
              <a:off x="6875898" y="5686997"/>
              <a:ext cx="318368" cy="320103"/>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3</a:t>
              </a:r>
            </a:p>
            <a:p>
              <a:pPr algn="ctr">
                <a:lnSpc>
                  <a:spcPct val="90000"/>
                </a:lnSpc>
              </a:pPr>
              <a:r>
                <a:rPr lang="en-GB" sz="700">
                  <a:solidFill>
                    <a:schemeClr val="bg1"/>
                  </a:solidFill>
                </a:rPr>
                <a:t>52</a:t>
              </a:r>
            </a:p>
            <a:p>
              <a:pPr algn="ctr">
                <a:lnSpc>
                  <a:spcPct val="90000"/>
                </a:lnSpc>
              </a:pPr>
              <a:r>
                <a:rPr lang="en-GB" sz="700">
                  <a:solidFill>
                    <a:schemeClr val="bg1"/>
                  </a:solidFill>
                </a:rPr>
                <a:t>156</a:t>
              </a:r>
              <a:endParaRPr lang="en-GB" sz="700" dirty="0">
                <a:solidFill>
                  <a:schemeClr val="bg1"/>
                </a:solidFill>
              </a:endParaRPr>
            </a:p>
          </p:txBody>
        </p:sp>
        <p:sp>
          <p:nvSpPr>
            <p:cNvPr id="90" name="Rectangle 89">
              <a:extLst>
                <a:ext uri="{FF2B5EF4-FFF2-40B4-BE49-F238E27FC236}">
                  <a16:creationId xmlns:a16="http://schemas.microsoft.com/office/drawing/2014/main" id="{EC915D2C-E7FF-48C5-88D0-A214E72825B1}"/>
                </a:ext>
              </a:extLst>
            </p:cNvPr>
            <p:cNvSpPr/>
            <p:nvPr userDrawn="1"/>
          </p:nvSpPr>
          <p:spPr>
            <a:xfrm>
              <a:off x="7663544" y="5261186"/>
              <a:ext cx="318368" cy="320103"/>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14</a:t>
              </a:r>
            </a:p>
            <a:p>
              <a:pPr algn="ctr">
                <a:lnSpc>
                  <a:spcPct val="90000"/>
                </a:lnSpc>
              </a:pPr>
              <a:r>
                <a:rPr lang="en-GB" sz="700">
                  <a:solidFill>
                    <a:schemeClr val="bg1"/>
                  </a:solidFill>
                </a:rPr>
                <a:t>19</a:t>
              </a:r>
            </a:p>
            <a:p>
              <a:pPr algn="ctr">
                <a:lnSpc>
                  <a:spcPct val="90000"/>
                </a:lnSpc>
              </a:pPr>
              <a:r>
                <a:rPr lang="en-GB" sz="700">
                  <a:solidFill>
                    <a:schemeClr val="bg1"/>
                  </a:solidFill>
                </a:rPr>
                <a:t>234</a:t>
              </a:r>
              <a:endParaRPr lang="en-GB" sz="700" dirty="0">
                <a:solidFill>
                  <a:schemeClr val="bg1"/>
                </a:solidFill>
              </a:endParaRPr>
            </a:p>
          </p:txBody>
        </p:sp>
        <p:sp>
          <p:nvSpPr>
            <p:cNvPr id="91" name="Rectangle 90">
              <a:extLst>
                <a:ext uri="{FF2B5EF4-FFF2-40B4-BE49-F238E27FC236}">
                  <a16:creationId xmlns:a16="http://schemas.microsoft.com/office/drawing/2014/main" id="{8BEE1031-0F8F-4739-9C13-A5F2DC318357}"/>
                </a:ext>
              </a:extLst>
            </p:cNvPr>
            <p:cNvSpPr/>
            <p:nvPr userDrawn="1"/>
          </p:nvSpPr>
          <p:spPr>
            <a:xfrm>
              <a:off x="7269722" y="5686997"/>
              <a:ext cx="318368" cy="320103"/>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5</a:t>
              </a:r>
            </a:p>
            <a:p>
              <a:pPr algn="ctr">
                <a:lnSpc>
                  <a:spcPct val="90000"/>
                </a:lnSpc>
              </a:pPr>
              <a:r>
                <a:rPr lang="en-GB" sz="700">
                  <a:solidFill>
                    <a:schemeClr val="bg1"/>
                  </a:solidFill>
                </a:rPr>
                <a:t>163</a:t>
              </a:r>
            </a:p>
            <a:p>
              <a:pPr algn="ctr">
                <a:lnSpc>
                  <a:spcPct val="90000"/>
                </a:lnSpc>
              </a:pPr>
              <a:r>
                <a:rPr lang="en-GB" sz="700">
                  <a:solidFill>
                    <a:schemeClr val="bg1"/>
                  </a:solidFill>
                </a:rPr>
                <a:t>218</a:t>
              </a:r>
              <a:endParaRPr lang="en-GB" sz="700" dirty="0">
                <a:solidFill>
                  <a:schemeClr val="bg1"/>
                </a:solidFill>
              </a:endParaRPr>
            </a:p>
          </p:txBody>
        </p:sp>
        <p:sp>
          <p:nvSpPr>
            <p:cNvPr id="92" name="Rectangle 91">
              <a:extLst>
                <a:ext uri="{FF2B5EF4-FFF2-40B4-BE49-F238E27FC236}">
                  <a16:creationId xmlns:a16="http://schemas.microsoft.com/office/drawing/2014/main" id="{F2066229-A6D4-425C-AC6C-C91823237793}"/>
                </a:ext>
              </a:extLst>
            </p:cNvPr>
            <p:cNvSpPr/>
            <p:nvPr userDrawn="1"/>
          </p:nvSpPr>
          <p:spPr>
            <a:xfrm>
              <a:off x="6088252" y="5686997"/>
              <a:ext cx="318368" cy="320103"/>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92</a:t>
              </a:r>
            </a:p>
            <a:p>
              <a:pPr algn="ctr">
                <a:lnSpc>
                  <a:spcPct val="90000"/>
                </a:lnSpc>
              </a:pPr>
              <a:r>
                <a:rPr lang="en-GB" sz="700">
                  <a:solidFill>
                    <a:schemeClr val="bg1"/>
                  </a:solidFill>
                </a:rPr>
                <a:t>174</a:t>
              </a:r>
              <a:endParaRPr lang="en-GB" sz="700" dirty="0">
                <a:solidFill>
                  <a:schemeClr val="bg1"/>
                </a:solidFill>
              </a:endParaRPr>
            </a:p>
          </p:txBody>
        </p:sp>
        <p:sp>
          <p:nvSpPr>
            <p:cNvPr id="93" name="Rectangle 92">
              <a:extLst>
                <a:ext uri="{FF2B5EF4-FFF2-40B4-BE49-F238E27FC236}">
                  <a16:creationId xmlns:a16="http://schemas.microsoft.com/office/drawing/2014/main" id="{B1A139CB-8C9F-44CD-AD3D-19CC8D3948A1}"/>
                </a:ext>
              </a:extLst>
            </p:cNvPr>
            <p:cNvSpPr/>
            <p:nvPr userDrawn="1"/>
          </p:nvSpPr>
          <p:spPr>
            <a:xfrm>
              <a:off x="8451190" y="5686997"/>
              <a:ext cx="318368" cy="320103"/>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99</a:t>
              </a:r>
            </a:p>
            <a:p>
              <a:pPr algn="ctr">
                <a:lnSpc>
                  <a:spcPct val="90000"/>
                </a:lnSpc>
              </a:pPr>
              <a:r>
                <a:rPr lang="en-GB" sz="700">
                  <a:solidFill>
                    <a:sysClr val="windowText" lastClr="000000"/>
                  </a:solidFill>
                </a:rPr>
                <a:t>235</a:t>
              </a:r>
            </a:p>
            <a:p>
              <a:pPr algn="ctr">
                <a:lnSpc>
                  <a:spcPct val="90000"/>
                </a:lnSpc>
              </a:pPr>
              <a:r>
                <a:rPr lang="en-GB" sz="700">
                  <a:solidFill>
                    <a:sysClr val="windowText" lastClr="000000"/>
                  </a:solidFill>
                </a:rPr>
                <a:t>218</a:t>
              </a:r>
              <a:endParaRPr lang="en-GB" sz="700" dirty="0">
                <a:solidFill>
                  <a:sysClr val="windowText" lastClr="000000"/>
                </a:solidFill>
              </a:endParaRPr>
            </a:p>
          </p:txBody>
        </p:sp>
        <p:sp>
          <p:nvSpPr>
            <p:cNvPr id="94" name="Rectangle 93">
              <a:extLst>
                <a:ext uri="{FF2B5EF4-FFF2-40B4-BE49-F238E27FC236}">
                  <a16:creationId xmlns:a16="http://schemas.microsoft.com/office/drawing/2014/main" id="{A6A28226-9A3E-4DF4-A814-1F5BE4A18360}"/>
                </a:ext>
              </a:extLst>
            </p:cNvPr>
            <p:cNvSpPr/>
            <p:nvPr userDrawn="1"/>
          </p:nvSpPr>
          <p:spPr>
            <a:xfrm>
              <a:off x="6482075" y="5261186"/>
              <a:ext cx="318368" cy="320103"/>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84</a:t>
              </a:r>
            </a:p>
            <a:p>
              <a:pPr algn="ctr">
                <a:lnSpc>
                  <a:spcPct val="90000"/>
                </a:lnSpc>
              </a:pPr>
              <a:r>
                <a:rPr lang="en-GB" sz="700">
                  <a:solidFill>
                    <a:schemeClr val="bg1"/>
                  </a:solidFill>
                </a:rPr>
                <a:t>245</a:t>
              </a:r>
              <a:endParaRPr lang="en-GB" sz="700" dirty="0">
                <a:solidFill>
                  <a:schemeClr val="bg1"/>
                </a:solidFill>
              </a:endParaRPr>
            </a:p>
          </p:txBody>
        </p:sp>
        <p:sp>
          <p:nvSpPr>
            <p:cNvPr id="95" name="Rectangle 94">
              <a:extLst>
                <a:ext uri="{FF2B5EF4-FFF2-40B4-BE49-F238E27FC236}">
                  <a16:creationId xmlns:a16="http://schemas.microsoft.com/office/drawing/2014/main" id="{21C44B0D-C09B-4486-995E-6FCC691F6CF2}"/>
                </a:ext>
              </a:extLst>
            </p:cNvPr>
            <p:cNvSpPr/>
            <p:nvPr userDrawn="1"/>
          </p:nvSpPr>
          <p:spPr>
            <a:xfrm>
              <a:off x="8057367" y="5686997"/>
              <a:ext cx="318368" cy="320103"/>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81</a:t>
              </a:r>
            </a:p>
            <a:p>
              <a:pPr algn="ctr">
                <a:lnSpc>
                  <a:spcPct val="90000"/>
                </a:lnSpc>
              </a:pPr>
              <a:r>
                <a:rPr lang="en-GB" sz="700">
                  <a:solidFill>
                    <a:schemeClr val="bg1"/>
                  </a:solidFill>
                </a:rPr>
                <a:t>13</a:t>
              </a:r>
            </a:p>
            <a:p>
              <a:pPr algn="ctr">
                <a:lnSpc>
                  <a:spcPct val="90000"/>
                </a:lnSpc>
              </a:pPr>
              <a:r>
                <a:rPr lang="en-GB" sz="700">
                  <a:solidFill>
                    <a:schemeClr val="bg1"/>
                  </a:solidFill>
                </a:rPr>
                <a:t>188</a:t>
              </a:r>
              <a:endParaRPr lang="en-GB" sz="700" dirty="0">
                <a:solidFill>
                  <a:schemeClr val="bg1"/>
                </a:solidFill>
              </a:endParaRPr>
            </a:p>
          </p:txBody>
        </p:sp>
        <p:sp>
          <p:nvSpPr>
            <p:cNvPr id="96" name="Rectangle 95">
              <a:extLst>
                <a:ext uri="{FF2B5EF4-FFF2-40B4-BE49-F238E27FC236}">
                  <a16:creationId xmlns:a16="http://schemas.microsoft.com/office/drawing/2014/main" id="{24B14724-2B96-4A69-984B-74A5856F63C4}"/>
                </a:ext>
              </a:extLst>
            </p:cNvPr>
            <p:cNvSpPr/>
            <p:nvPr userDrawn="1"/>
          </p:nvSpPr>
          <p:spPr>
            <a:xfrm>
              <a:off x="8451190" y="5261186"/>
              <a:ext cx="318368" cy="320103"/>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9</a:t>
              </a:r>
            </a:p>
            <a:p>
              <a:pPr algn="ctr">
                <a:lnSpc>
                  <a:spcPct val="90000"/>
                </a:lnSpc>
              </a:pPr>
              <a:r>
                <a:rPr lang="en-GB" sz="700">
                  <a:solidFill>
                    <a:schemeClr val="bg1"/>
                  </a:solidFill>
                </a:rPr>
                <a:t>142</a:t>
              </a:r>
            </a:p>
            <a:p>
              <a:pPr algn="ctr">
                <a:lnSpc>
                  <a:spcPct val="90000"/>
                </a:lnSpc>
              </a:pPr>
              <a:r>
                <a:rPr lang="en-GB" sz="700">
                  <a:solidFill>
                    <a:schemeClr val="bg1"/>
                  </a:solidFill>
                </a:rPr>
                <a:t>126</a:t>
              </a:r>
              <a:endParaRPr lang="en-GB" sz="700" dirty="0">
                <a:solidFill>
                  <a:schemeClr val="bg1"/>
                </a:solidFill>
              </a:endParaRPr>
            </a:p>
          </p:txBody>
        </p:sp>
        <p:sp>
          <p:nvSpPr>
            <p:cNvPr id="97" name="Rectangle 96">
              <a:extLst>
                <a:ext uri="{FF2B5EF4-FFF2-40B4-BE49-F238E27FC236}">
                  <a16:creationId xmlns:a16="http://schemas.microsoft.com/office/drawing/2014/main" id="{25A56029-E17B-4898-871B-11FD8F48CAF6}"/>
                </a:ext>
              </a:extLst>
            </p:cNvPr>
            <p:cNvSpPr/>
            <p:nvPr userDrawn="1"/>
          </p:nvSpPr>
          <p:spPr>
            <a:xfrm>
              <a:off x="7663544" y="5686997"/>
              <a:ext cx="318368" cy="320103"/>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02</a:t>
              </a:r>
            </a:p>
            <a:p>
              <a:pPr algn="ctr">
                <a:lnSpc>
                  <a:spcPct val="90000"/>
                </a:lnSpc>
              </a:pPr>
              <a:r>
                <a:rPr lang="en-GB" sz="700">
                  <a:solidFill>
                    <a:schemeClr val="bg1"/>
                  </a:solidFill>
                </a:rPr>
                <a:t>102</a:t>
              </a:r>
            </a:p>
            <a:p>
              <a:pPr algn="ctr">
                <a:lnSpc>
                  <a:spcPct val="90000"/>
                </a:lnSpc>
              </a:pPr>
              <a:r>
                <a:rPr lang="en-GB" sz="700">
                  <a:solidFill>
                    <a:schemeClr val="bg1"/>
                  </a:solidFill>
                </a:rPr>
                <a:t>102</a:t>
              </a:r>
              <a:endParaRPr lang="en-GB" sz="700" dirty="0">
                <a:solidFill>
                  <a:schemeClr val="bg1"/>
                </a:solidFill>
              </a:endParaRPr>
            </a:p>
          </p:txBody>
        </p:sp>
        <p:sp>
          <p:nvSpPr>
            <p:cNvPr id="98" name="Rectangle 97">
              <a:extLst>
                <a:ext uri="{FF2B5EF4-FFF2-40B4-BE49-F238E27FC236}">
                  <a16:creationId xmlns:a16="http://schemas.microsoft.com/office/drawing/2014/main" id="{E91353B9-D58F-4CC4-8017-A57DFEF3A5A0}"/>
                </a:ext>
              </a:extLst>
            </p:cNvPr>
            <p:cNvSpPr/>
            <p:nvPr userDrawn="1"/>
          </p:nvSpPr>
          <p:spPr>
            <a:xfrm>
              <a:off x="6482075" y="5686997"/>
              <a:ext cx="318368" cy="320103"/>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71</a:t>
              </a:r>
            </a:p>
            <a:p>
              <a:pPr algn="ctr">
                <a:lnSpc>
                  <a:spcPct val="90000"/>
                </a:lnSpc>
              </a:pPr>
              <a:r>
                <a:rPr lang="en-GB" sz="700">
                  <a:solidFill>
                    <a:schemeClr val="bg1"/>
                  </a:solidFill>
                </a:rPr>
                <a:t>13</a:t>
              </a:r>
            </a:p>
            <a:p>
              <a:pPr algn="ctr">
                <a:lnSpc>
                  <a:spcPct val="90000"/>
                </a:lnSpc>
              </a:pPr>
              <a:r>
                <a:rPr lang="en-GB" sz="700">
                  <a:solidFill>
                    <a:schemeClr val="bg1"/>
                  </a:solidFill>
                </a:rPr>
                <a:t>130</a:t>
              </a:r>
              <a:endParaRPr lang="en-GB" sz="700" dirty="0">
                <a:solidFill>
                  <a:schemeClr val="bg1"/>
                </a:solidFill>
              </a:endParaRPr>
            </a:p>
          </p:txBody>
        </p:sp>
      </p:grpSp>
      <p:grpSp>
        <p:nvGrpSpPr>
          <p:cNvPr id="99" name="Group 98">
            <a:extLst>
              <a:ext uri="{FF2B5EF4-FFF2-40B4-BE49-F238E27FC236}">
                <a16:creationId xmlns:a16="http://schemas.microsoft.com/office/drawing/2014/main" id="{642ECFFB-E253-47C6-9B8B-4847610FA685}"/>
              </a:ext>
            </a:extLst>
          </p:cNvPr>
          <p:cNvGrpSpPr/>
          <p:nvPr userDrawn="1"/>
        </p:nvGrpSpPr>
        <p:grpSpPr>
          <a:xfrm>
            <a:off x="6088251" y="3518778"/>
            <a:ext cx="3030263" cy="852557"/>
            <a:chOff x="5676530" y="3651946"/>
            <a:chExt cx="2681922" cy="852557"/>
          </a:xfrm>
        </p:grpSpPr>
        <p:cxnSp>
          <p:nvCxnSpPr>
            <p:cNvPr id="100" name="Straight Connector 99">
              <a:extLst>
                <a:ext uri="{FF2B5EF4-FFF2-40B4-BE49-F238E27FC236}">
                  <a16:creationId xmlns:a16="http://schemas.microsoft.com/office/drawing/2014/main" id="{88B9AC04-B2BC-4A0F-AB2E-330C8D5D1160}"/>
                </a:ext>
              </a:extLst>
            </p:cNvPr>
            <p:cNvCxnSpPr>
              <a:cxnSpLocks/>
            </p:cNvCxnSpPr>
            <p:nvPr userDrawn="1"/>
          </p:nvCxnSpPr>
          <p:spPr>
            <a:xfrm>
              <a:off x="5676530" y="4504503"/>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74DB764-E8F7-423C-B6C3-CB9F7B30F378}"/>
                </a:ext>
              </a:extLst>
            </p:cNvPr>
            <p:cNvCxnSpPr>
              <a:cxnSpLocks/>
            </p:cNvCxnSpPr>
            <p:nvPr userDrawn="1"/>
          </p:nvCxnSpPr>
          <p:spPr>
            <a:xfrm>
              <a:off x="5676530" y="3651946"/>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9983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
        <p:nvSpPr>
          <p:cNvPr id="8" name="Rectangle 7">
            <a:extLst>
              <a:ext uri="{FF2B5EF4-FFF2-40B4-BE49-F238E27FC236}">
                <a16:creationId xmlns:a16="http://schemas.microsoft.com/office/drawing/2014/main" id="{A02F7677-E68A-4B9D-BD77-AED2A937FB01}"/>
              </a:ext>
            </a:extLst>
          </p:cNvPr>
          <p:cNvSpPr>
            <a:spLocks noChangeAspect="1"/>
          </p:cNvSpPr>
          <p:nvPr userDrawn="1"/>
        </p:nvSpPr>
        <p:spPr>
          <a:xfrm>
            <a:off x="4442218" y="313438"/>
            <a:ext cx="3957246" cy="56936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761EF0CE-F7A1-4591-B6CC-532B64630C6A}"/>
              </a:ext>
            </a:extLst>
          </p:cNvPr>
          <p:cNvSpPr>
            <a:spLocks noGrp="1"/>
          </p:cNvSpPr>
          <p:nvPr>
            <p:ph type="ctrTitle" hasCustomPrompt="1"/>
          </p:nvPr>
        </p:nvSpPr>
        <p:spPr>
          <a:xfrm>
            <a:off x="4684267" y="556419"/>
            <a:ext cx="3471421" cy="41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78731660-334C-4303-AC5A-A2D533414C83}"/>
              </a:ext>
            </a:extLst>
          </p:cNvPr>
          <p:cNvSpPr>
            <a:spLocks noGrp="1"/>
          </p:cNvSpPr>
          <p:nvPr>
            <p:ph type="body" sz="quarter" idx="11"/>
          </p:nvPr>
        </p:nvSpPr>
        <p:spPr>
          <a:xfrm>
            <a:off x="4684267" y="4949907"/>
            <a:ext cx="3471421"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741323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solidFill>
                <a:srgbClr val="000000"/>
              </a:solidFill>
              <a:sym typeface="Arial" panose="020B0604020202020204" pitchFamily="34" charset="0"/>
            </a:endParaRPr>
          </a:p>
        </p:txBody>
      </p:sp>
      <p:sp>
        <p:nvSpPr>
          <p:cNvPr id="17" name="Freeform 19"/>
          <p:cNvSpPr>
            <a:spLocks noEditPoints="1"/>
          </p:cNvSpPr>
          <p:nvPr userDrawn="1"/>
        </p:nvSpPr>
        <p:spPr bwMode="auto">
          <a:xfrm>
            <a:off x="17160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solidFill>
                <a:srgbClr val="000000"/>
              </a:solidFill>
            </a:endParaRPr>
          </a:p>
        </p:txBody>
      </p:sp>
      <p:sp>
        <p:nvSpPr>
          <p:cNvPr id="16" name="Text Placeholder 2"/>
          <p:cNvSpPr>
            <a:spLocks noGrp="1"/>
          </p:cNvSpPr>
          <p:nvPr>
            <p:ph type="body" sz="quarter" idx="11"/>
          </p:nvPr>
        </p:nvSpPr>
        <p:spPr>
          <a:xfrm>
            <a:off x="1716001" y="5113341"/>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8" name="Text Placeholder 2"/>
          <p:cNvSpPr>
            <a:spLocks noGrp="1"/>
          </p:cNvSpPr>
          <p:nvPr>
            <p:ph type="body" sz="quarter" idx="12"/>
          </p:nvPr>
        </p:nvSpPr>
        <p:spPr>
          <a:xfrm>
            <a:off x="1716001"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sp>
        <p:nvSpPr>
          <p:cNvPr id="19" name="Text Placeholder 2"/>
          <p:cNvSpPr>
            <a:spLocks noGrp="1"/>
          </p:cNvSpPr>
          <p:nvPr>
            <p:ph type="body" sz="quarter" idx="13"/>
          </p:nvPr>
        </p:nvSpPr>
        <p:spPr>
          <a:xfrm>
            <a:off x="1716001" y="4313241"/>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9" y="3442557"/>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6000" y="3442555"/>
            <a:ext cx="2523749" cy="384049"/>
          </a:xfrm>
          <a:prstGeom prst="rect">
            <a:avLst/>
          </a:prstGeom>
        </p:spPr>
      </p:pic>
      <p:sp>
        <p:nvSpPr>
          <p:cNvPr id="11" name="TextBox 10"/>
          <p:cNvSpPr txBox="1"/>
          <p:nvPr userDrawn="1"/>
        </p:nvSpPr>
        <p:spPr>
          <a:xfrm>
            <a:off x="1828800" y="6687744"/>
            <a:ext cx="5934075" cy="122633"/>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Tree>
    <p:extLst>
      <p:ext uri="{BB962C8B-B14F-4D97-AF65-F5344CB8AC3E}">
        <p14:creationId xmlns:p14="http://schemas.microsoft.com/office/powerpoint/2010/main" val="26531985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2606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492125" y="1485250"/>
            <a:ext cx="5142114"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188763876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359005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956261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606684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34397815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8806293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p:nvPr>
        </p:nvSpPr>
        <p:spPr>
          <a:xfrm>
            <a:off x="488951" y="203863"/>
            <a:ext cx="8591450" cy="169200"/>
          </a:xfrm>
          <a:prstGeom prst="rect">
            <a:avLst/>
          </a:prstGeom>
        </p:spPr>
        <p:txBody>
          <a:bodyPr anchor="b"/>
          <a:lstStyle>
            <a:lvl1pPr>
              <a:spcAft>
                <a:spcPts val="0"/>
              </a:spcAft>
              <a:defRPr sz="1200"/>
            </a:lvl1pPr>
          </a:lstStyle>
          <a:p>
            <a:pPr lvl="0"/>
            <a:endParaRPr lang="en-US" dirty="0"/>
          </a:p>
        </p:txBody>
      </p:sp>
    </p:spTree>
    <p:extLst>
      <p:ext uri="{BB962C8B-B14F-4D97-AF65-F5344CB8AC3E}">
        <p14:creationId xmlns:p14="http://schemas.microsoft.com/office/powerpoint/2010/main" val="28739787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492126" y="5881302"/>
            <a:ext cx="2141612" cy="138499"/>
          </a:xfrm>
          <a:prstGeom prst="rect">
            <a:avLst/>
          </a:prstGeom>
          <a:noFill/>
        </p:spPr>
        <p:txBody>
          <a:bodyPr wrap="non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endParaRPr lang="en-GB" sz="900" b="1" kern="1200" noProof="0" dirty="0">
              <a:solidFill>
                <a:schemeClr val="accent2"/>
              </a:solidFill>
              <a:latin typeface="+mn-lt"/>
              <a:ea typeface="+mn-ea"/>
              <a:cs typeface="+mn-cs"/>
            </a:endParaRP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492125" y="4234307"/>
            <a:ext cx="6528816" cy="1499616"/>
          </a:xfrm>
        </p:spPr>
        <p:txBody>
          <a:bodyPr anchor="b"/>
          <a:lstStyle>
            <a:lvl1pPr>
              <a:spcAft>
                <a:spcPts val="1001"/>
              </a:spcAft>
              <a:defRPr sz="900" b="0">
                <a:solidFill>
                  <a:schemeClr val="accent2"/>
                </a:solidFill>
              </a:defRPr>
            </a:lvl1pPr>
            <a:lvl2pPr>
              <a:spcAft>
                <a:spcPts val="1001"/>
              </a:spcAft>
              <a:defRPr sz="900" b="0">
                <a:solidFill>
                  <a:schemeClr val="accent2"/>
                </a:solidFill>
              </a:defRPr>
            </a:lvl2pPr>
          </a:lstStyle>
          <a:p>
            <a:pPr lvl="0"/>
            <a:r>
              <a:rPr lang="en-US" dirty="0"/>
              <a:t>Click to edit Master text styles</a:t>
            </a:r>
          </a:p>
          <a:p>
            <a:pPr lvl="1"/>
            <a:r>
              <a:rPr lang="en-US" dirty="0"/>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492125" y="3905623"/>
            <a:ext cx="3163824" cy="184666"/>
          </a:xfrm>
        </p:spPr>
        <p:txBody>
          <a:bodyPr>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7" indent="0">
              <a:buFontTx/>
              <a:buNone/>
              <a:defRPr sz="900" b="0">
                <a:solidFill>
                  <a:schemeClr val="bg1">
                    <a:lumMod val="65000"/>
                  </a:schemeClr>
                </a:solidFill>
              </a:defRPr>
            </a:lvl4pPr>
            <a:lvl5pPr marL="540011" indent="0">
              <a:buFontTx/>
              <a:buNone/>
              <a:defRPr sz="900" b="0">
                <a:solidFill>
                  <a:schemeClr val="bg1">
                    <a:lumMod val="65000"/>
                  </a:schemeClr>
                </a:solidFill>
              </a:defRPr>
            </a:lvl5pPr>
          </a:lstStyle>
          <a:p>
            <a:pPr lvl="0"/>
            <a:r>
              <a:rPr lang="en-US" dirty="0"/>
              <a:t>Click to edit Master text styles</a:t>
            </a:r>
          </a:p>
        </p:txBody>
      </p:sp>
      <p:grpSp>
        <p:nvGrpSpPr>
          <p:cNvPr id="26" name="Group 25">
            <a:extLst>
              <a:ext uri="{FF2B5EF4-FFF2-40B4-BE49-F238E27FC236}">
                <a16:creationId xmlns:a16="http://schemas.microsoft.com/office/drawing/2014/main" id="{2E521B4E-EC63-4172-86C2-F99550F8CEF2}"/>
              </a:ext>
            </a:extLst>
          </p:cNvPr>
          <p:cNvGrpSpPr/>
          <p:nvPr userDrawn="1"/>
        </p:nvGrpSpPr>
        <p:grpSpPr>
          <a:xfrm>
            <a:off x="492125" y="3401605"/>
            <a:ext cx="1603860" cy="360000"/>
            <a:chOff x="998476" y="2885507"/>
            <a:chExt cx="1603860" cy="360000"/>
          </a:xfrm>
        </p:grpSpPr>
        <p:sp>
          <p:nvSpPr>
            <p:cNvPr id="27" name="Rectangle 26">
              <a:extLst>
                <a:ext uri="{FF2B5EF4-FFF2-40B4-BE49-F238E27FC236}">
                  <a16:creationId xmlns:a16="http://schemas.microsoft.com/office/drawing/2014/main" id="{87AB99F1-3DCB-4C52-A257-9F07188C553A}"/>
                </a:ext>
              </a:extLst>
            </p:cNvPr>
            <p:cNvSpPr/>
            <p:nvPr userDrawn="1"/>
          </p:nvSpPr>
          <p:spPr>
            <a:xfrm>
              <a:off x="2297230" y="292255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5" name="Picture 34">
              <a:hlinkClick r:id="rId3"/>
              <a:extLst>
                <a:ext uri="{FF2B5EF4-FFF2-40B4-BE49-F238E27FC236}">
                  <a16:creationId xmlns:a16="http://schemas.microsoft.com/office/drawing/2014/main" id="{D841ED5B-C501-4D38-BF66-888A8D88D6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5507"/>
              <a:ext cx="360000" cy="360000"/>
            </a:xfrm>
            <a:prstGeom prst="rect">
              <a:avLst/>
            </a:prstGeom>
          </p:spPr>
        </p:pic>
        <p:sp>
          <p:nvSpPr>
            <p:cNvPr id="36" name="Rectangle 35">
              <a:extLst>
                <a:ext uri="{FF2B5EF4-FFF2-40B4-BE49-F238E27FC236}">
                  <a16:creationId xmlns:a16="http://schemas.microsoft.com/office/drawing/2014/main" id="{837D0856-8034-41D5-AE7C-F6A28BD36F61}"/>
                </a:ext>
              </a:extLst>
            </p:cNvPr>
            <p:cNvSpPr/>
            <p:nvPr userDrawn="1"/>
          </p:nvSpPr>
          <p:spPr>
            <a:xfrm>
              <a:off x="1440696" y="2914598"/>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7" name="Picture 36" descr="Logo&#10;&#10;Description automatically generated">
              <a:hlinkClick r:id="rId5"/>
              <a:extLst>
                <a:ext uri="{FF2B5EF4-FFF2-40B4-BE49-F238E27FC236}">
                  <a16:creationId xmlns:a16="http://schemas.microsoft.com/office/drawing/2014/main" id="{3CBF7946-8421-43F5-892C-46CDAB3746D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13096" y="2885507"/>
              <a:ext cx="360000" cy="360000"/>
            </a:xfrm>
            <a:prstGeom prst="rect">
              <a:avLst/>
            </a:prstGeom>
          </p:spPr>
        </p:pic>
        <p:sp>
          <p:nvSpPr>
            <p:cNvPr id="38" name="Rectangle 37">
              <a:extLst>
                <a:ext uri="{FF2B5EF4-FFF2-40B4-BE49-F238E27FC236}">
                  <a16:creationId xmlns:a16="http://schemas.microsoft.com/office/drawing/2014/main" id="{BEEFD061-0BD6-472B-837F-F17701682D7D}"/>
                </a:ext>
              </a:extLst>
            </p:cNvPr>
            <p:cNvSpPr/>
            <p:nvPr userDrawn="1"/>
          </p:nvSpPr>
          <p:spPr>
            <a:xfrm>
              <a:off x="1025526" y="2925406"/>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9" name="Picture 38" descr="Logo&#10;&#10;Description automatically generated">
              <a:hlinkClick r:id="rId7"/>
              <a:extLst>
                <a:ext uri="{FF2B5EF4-FFF2-40B4-BE49-F238E27FC236}">
                  <a16:creationId xmlns:a16="http://schemas.microsoft.com/office/drawing/2014/main" id="{3538D899-6FC4-4E4E-9D83-FB79E466F7B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8476" y="2885507"/>
              <a:ext cx="360000" cy="360000"/>
            </a:xfrm>
            <a:prstGeom prst="rect">
              <a:avLst/>
            </a:prstGeom>
          </p:spPr>
        </p:pic>
        <p:sp>
          <p:nvSpPr>
            <p:cNvPr id="40" name="Rectangle 39">
              <a:extLst>
                <a:ext uri="{FF2B5EF4-FFF2-40B4-BE49-F238E27FC236}">
                  <a16:creationId xmlns:a16="http://schemas.microsoft.com/office/drawing/2014/main" id="{F7DF560D-28B9-4531-84F9-18D2B111BBFD}"/>
                </a:ext>
              </a:extLst>
            </p:cNvPr>
            <p:cNvSpPr/>
            <p:nvPr userDrawn="1"/>
          </p:nvSpPr>
          <p:spPr>
            <a:xfrm>
              <a:off x="1855316" y="292815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42" name="Picture 41" descr="Icon&#10;&#10;Description automatically generated">
              <a:hlinkClick r:id="rId9"/>
              <a:extLst>
                <a:ext uri="{FF2B5EF4-FFF2-40B4-BE49-F238E27FC236}">
                  <a16:creationId xmlns:a16="http://schemas.microsoft.com/office/drawing/2014/main" id="{9ED0DE18-DD9A-4C08-9FF2-0084EC00FF1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827716" y="2885507"/>
              <a:ext cx="360000" cy="360000"/>
            </a:xfrm>
            <a:prstGeom prst="rect">
              <a:avLst/>
            </a:prstGeom>
          </p:spPr>
        </p:pic>
      </p:grpSp>
      <p:sp>
        <p:nvSpPr>
          <p:cNvPr id="15" name="Freeform 19">
            <a:extLst>
              <a:ext uri="{FF2B5EF4-FFF2-40B4-BE49-F238E27FC236}">
                <a16:creationId xmlns:a16="http://schemas.microsoft.com/office/drawing/2014/main" id="{38095C74-316B-4053-99E1-F17F8C7467FE}"/>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4283306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2" y="1263838"/>
            <a:ext cx="3614488"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2" y="4881887"/>
            <a:ext cx="3614488"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9" y="1263838"/>
            <a:ext cx="4354574" cy="302253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2" name="Graphic 11">
            <a:extLst>
              <a:ext uri="{FF2B5EF4-FFF2-40B4-BE49-F238E27FC236}">
                <a16:creationId xmlns:a16="http://schemas.microsoft.com/office/drawing/2014/main" id="{4B8876DD-8352-4216-B6B9-2B8FE93A5D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02563" y="313438"/>
            <a:ext cx="786440" cy="316800"/>
          </a:xfrm>
          <a:prstGeom prst="rect">
            <a:avLst/>
          </a:prstGeom>
        </p:spPr>
      </p:pic>
    </p:spTree>
    <p:extLst>
      <p:ext uri="{BB962C8B-B14F-4D97-AF65-F5344CB8AC3E}">
        <p14:creationId xmlns:p14="http://schemas.microsoft.com/office/powerpoint/2010/main" val="42752360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2" y="0"/>
            <a:ext cx="9905999" cy="685800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pic>
        <p:nvPicPr>
          <p:cNvPr id="5" name="Picture 4" descr="A picture containing indoor, ceiling, floor&#10;&#10;Description automatically generated">
            <a:extLst>
              <a:ext uri="{FF2B5EF4-FFF2-40B4-BE49-F238E27FC236}">
                <a16:creationId xmlns:a16="http://schemas.microsoft.com/office/drawing/2014/main" id="{E02EEC59-7929-4CC2-BD37-8B39A438EBC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531" r="22838"/>
          <a:stretch/>
        </p:blipFill>
        <p:spPr>
          <a:xfrm>
            <a:off x="4465467" y="1330325"/>
            <a:ext cx="4945233" cy="4238434"/>
          </a:xfrm>
          <a:prstGeom prst="rect">
            <a:avLst/>
          </a:prstGeom>
        </p:spPr>
      </p:pic>
    </p:spTree>
    <p:extLst>
      <p:ext uri="{BB962C8B-B14F-4D97-AF65-F5344CB8AC3E}">
        <p14:creationId xmlns:p14="http://schemas.microsoft.com/office/powerpoint/2010/main" val="4766361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669855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340106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1964315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10408220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17227314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492125" y="1485250"/>
            <a:ext cx="5142114"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207440095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46027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548424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781481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4525601" y="1263838"/>
            <a:ext cx="4566013"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4525601" y="4881887"/>
            <a:ext cx="4566013"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814388" y="1263838"/>
            <a:ext cx="3077611" cy="442804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3" name="Graphic 12">
            <a:extLst>
              <a:ext uri="{FF2B5EF4-FFF2-40B4-BE49-F238E27FC236}">
                <a16:creationId xmlns:a16="http://schemas.microsoft.com/office/drawing/2014/main" id="{A5E4D31B-44FE-4043-8DB5-350B5A0A65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57337" y="313438"/>
            <a:ext cx="786440" cy="316800"/>
          </a:xfrm>
          <a:prstGeom prst="rect">
            <a:avLst/>
          </a:prstGeom>
        </p:spPr>
      </p:pic>
    </p:spTree>
    <p:extLst>
      <p:ext uri="{BB962C8B-B14F-4D97-AF65-F5344CB8AC3E}">
        <p14:creationId xmlns:p14="http://schemas.microsoft.com/office/powerpoint/2010/main" val="8807505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7964161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35382428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488951" y="203863"/>
            <a:ext cx="8591450" cy="169200"/>
          </a:xfrm>
          <a:prstGeom prst="rect">
            <a:avLst/>
          </a:prstGeo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2729653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492126" y="5881302"/>
            <a:ext cx="2141612" cy="138499"/>
          </a:xfrm>
          <a:prstGeom prst="rect">
            <a:avLst/>
          </a:prstGeom>
          <a:noFill/>
        </p:spPr>
        <p:txBody>
          <a:bodyPr wrap="non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endParaRPr lang="en-GB" sz="900" b="1" kern="1200" noProof="0" dirty="0">
              <a:solidFill>
                <a:schemeClr val="accent2"/>
              </a:solidFill>
              <a:latin typeface="+mn-lt"/>
              <a:ea typeface="+mn-ea"/>
              <a:cs typeface="+mn-cs"/>
            </a:endParaRP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492125" y="4234307"/>
            <a:ext cx="6528816" cy="1499616"/>
          </a:xfrm>
        </p:spPr>
        <p:txBody>
          <a:bodyPr anchor="b"/>
          <a:lstStyle>
            <a:lvl1pPr>
              <a:spcAft>
                <a:spcPts val="1001"/>
              </a:spcAft>
              <a:defRPr sz="900" b="0">
                <a:solidFill>
                  <a:schemeClr val="accent2"/>
                </a:solidFill>
              </a:defRPr>
            </a:lvl1pPr>
            <a:lvl2pPr>
              <a:spcAft>
                <a:spcPts val="1001"/>
              </a:spcAft>
              <a:defRPr sz="900" b="0">
                <a:solidFill>
                  <a:schemeClr val="accent2"/>
                </a:solidFill>
              </a:defRPr>
            </a:lvl2pPr>
          </a:lstStyle>
          <a:p>
            <a:pPr lvl="0"/>
            <a:r>
              <a:rPr lang="en-US" dirty="0"/>
              <a:t>Click to edit Master text styles</a:t>
            </a:r>
          </a:p>
          <a:p>
            <a:pPr lvl="1"/>
            <a:r>
              <a:rPr lang="en-US" dirty="0"/>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492125" y="3905623"/>
            <a:ext cx="3163824" cy="184666"/>
          </a:xfrm>
        </p:spPr>
        <p:txBody>
          <a:bodyPr>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7" indent="0">
              <a:buFontTx/>
              <a:buNone/>
              <a:defRPr sz="900" b="0">
                <a:solidFill>
                  <a:schemeClr val="bg1">
                    <a:lumMod val="65000"/>
                  </a:schemeClr>
                </a:solidFill>
              </a:defRPr>
            </a:lvl4pPr>
            <a:lvl5pPr marL="540011" indent="0">
              <a:buFontTx/>
              <a:buNone/>
              <a:defRPr sz="900" b="0">
                <a:solidFill>
                  <a:schemeClr val="bg1">
                    <a:lumMod val="65000"/>
                  </a:schemeClr>
                </a:solidFill>
              </a:defRPr>
            </a:lvl5pPr>
          </a:lstStyle>
          <a:p>
            <a:pPr lvl="0"/>
            <a:r>
              <a:rPr lang="en-US" dirty="0"/>
              <a:t>Click to edit Master text styles</a:t>
            </a:r>
          </a:p>
        </p:txBody>
      </p:sp>
      <p:grpSp>
        <p:nvGrpSpPr>
          <p:cNvPr id="26" name="Group 25">
            <a:extLst>
              <a:ext uri="{FF2B5EF4-FFF2-40B4-BE49-F238E27FC236}">
                <a16:creationId xmlns:a16="http://schemas.microsoft.com/office/drawing/2014/main" id="{2E521B4E-EC63-4172-86C2-F99550F8CEF2}"/>
              </a:ext>
            </a:extLst>
          </p:cNvPr>
          <p:cNvGrpSpPr/>
          <p:nvPr userDrawn="1"/>
        </p:nvGrpSpPr>
        <p:grpSpPr>
          <a:xfrm>
            <a:off x="492125" y="3401605"/>
            <a:ext cx="1603860" cy="360000"/>
            <a:chOff x="998476" y="2885507"/>
            <a:chExt cx="1603860" cy="360000"/>
          </a:xfrm>
        </p:grpSpPr>
        <p:sp>
          <p:nvSpPr>
            <p:cNvPr id="27" name="Rectangle 26">
              <a:extLst>
                <a:ext uri="{FF2B5EF4-FFF2-40B4-BE49-F238E27FC236}">
                  <a16:creationId xmlns:a16="http://schemas.microsoft.com/office/drawing/2014/main" id="{87AB99F1-3DCB-4C52-A257-9F07188C553A}"/>
                </a:ext>
              </a:extLst>
            </p:cNvPr>
            <p:cNvSpPr/>
            <p:nvPr userDrawn="1"/>
          </p:nvSpPr>
          <p:spPr>
            <a:xfrm>
              <a:off x="2297230" y="292255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5" name="Picture 34">
              <a:hlinkClick r:id="rId3"/>
              <a:extLst>
                <a:ext uri="{FF2B5EF4-FFF2-40B4-BE49-F238E27FC236}">
                  <a16:creationId xmlns:a16="http://schemas.microsoft.com/office/drawing/2014/main" id="{D841ED5B-C501-4D38-BF66-888A8D88D6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5507"/>
              <a:ext cx="360000" cy="360000"/>
            </a:xfrm>
            <a:prstGeom prst="rect">
              <a:avLst/>
            </a:prstGeom>
          </p:spPr>
        </p:pic>
        <p:sp>
          <p:nvSpPr>
            <p:cNvPr id="36" name="Rectangle 35">
              <a:extLst>
                <a:ext uri="{FF2B5EF4-FFF2-40B4-BE49-F238E27FC236}">
                  <a16:creationId xmlns:a16="http://schemas.microsoft.com/office/drawing/2014/main" id="{837D0856-8034-41D5-AE7C-F6A28BD36F61}"/>
                </a:ext>
              </a:extLst>
            </p:cNvPr>
            <p:cNvSpPr/>
            <p:nvPr userDrawn="1"/>
          </p:nvSpPr>
          <p:spPr>
            <a:xfrm>
              <a:off x="1440696" y="2914598"/>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7" name="Picture 36" descr="Logo&#10;&#10;Description automatically generated">
              <a:hlinkClick r:id="rId5"/>
              <a:extLst>
                <a:ext uri="{FF2B5EF4-FFF2-40B4-BE49-F238E27FC236}">
                  <a16:creationId xmlns:a16="http://schemas.microsoft.com/office/drawing/2014/main" id="{3CBF7946-8421-43F5-892C-46CDAB3746D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13096" y="2885507"/>
              <a:ext cx="360000" cy="360000"/>
            </a:xfrm>
            <a:prstGeom prst="rect">
              <a:avLst/>
            </a:prstGeom>
          </p:spPr>
        </p:pic>
        <p:sp>
          <p:nvSpPr>
            <p:cNvPr id="38" name="Rectangle 37">
              <a:extLst>
                <a:ext uri="{FF2B5EF4-FFF2-40B4-BE49-F238E27FC236}">
                  <a16:creationId xmlns:a16="http://schemas.microsoft.com/office/drawing/2014/main" id="{BEEFD061-0BD6-472B-837F-F17701682D7D}"/>
                </a:ext>
              </a:extLst>
            </p:cNvPr>
            <p:cNvSpPr/>
            <p:nvPr userDrawn="1"/>
          </p:nvSpPr>
          <p:spPr>
            <a:xfrm>
              <a:off x="1025526" y="2925406"/>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9" name="Picture 38" descr="Logo&#10;&#10;Description automatically generated">
              <a:hlinkClick r:id="rId7"/>
              <a:extLst>
                <a:ext uri="{FF2B5EF4-FFF2-40B4-BE49-F238E27FC236}">
                  <a16:creationId xmlns:a16="http://schemas.microsoft.com/office/drawing/2014/main" id="{3538D899-6FC4-4E4E-9D83-FB79E466F7B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8476" y="2885507"/>
              <a:ext cx="360000" cy="360000"/>
            </a:xfrm>
            <a:prstGeom prst="rect">
              <a:avLst/>
            </a:prstGeom>
          </p:spPr>
        </p:pic>
        <p:sp>
          <p:nvSpPr>
            <p:cNvPr id="40" name="Rectangle 39">
              <a:extLst>
                <a:ext uri="{FF2B5EF4-FFF2-40B4-BE49-F238E27FC236}">
                  <a16:creationId xmlns:a16="http://schemas.microsoft.com/office/drawing/2014/main" id="{F7DF560D-28B9-4531-84F9-18D2B111BBFD}"/>
                </a:ext>
              </a:extLst>
            </p:cNvPr>
            <p:cNvSpPr/>
            <p:nvPr userDrawn="1"/>
          </p:nvSpPr>
          <p:spPr>
            <a:xfrm>
              <a:off x="1855316" y="292815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42" name="Picture 41" descr="Icon&#10;&#10;Description automatically generated">
              <a:hlinkClick r:id="rId9"/>
              <a:extLst>
                <a:ext uri="{FF2B5EF4-FFF2-40B4-BE49-F238E27FC236}">
                  <a16:creationId xmlns:a16="http://schemas.microsoft.com/office/drawing/2014/main" id="{9ED0DE18-DD9A-4C08-9FF2-0084EC00FF1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827716" y="2885507"/>
              <a:ext cx="360000" cy="360000"/>
            </a:xfrm>
            <a:prstGeom prst="rect">
              <a:avLst/>
            </a:prstGeom>
          </p:spPr>
        </p:pic>
      </p:grpSp>
      <p:sp>
        <p:nvSpPr>
          <p:cNvPr id="15" name="Freeform 19">
            <a:extLst>
              <a:ext uri="{FF2B5EF4-FFF2-40B4-BE49-F238E27FC236}">
                <a16:creationId xmlns:a16="http://schemas.microsoft.com/office/drawing/2014/main" id="{38095C74-316B-4053-99E1-F17F8C7467FE}"/>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3438317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5" y="1263838"/>
            <a:ext cx="328904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5" y="4881887"/>
            <a:ext cx="328904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9" y="1263838"/>
            <a:ext cx="4354574" cy="3022538"/>
          </a:xfrm>
          <a:solidFill>
            <a:schemeClr val="tx2"/>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7" name="Graphic 6">
            <a:extLst>
              <a:ext uri="{FF2B5EF4-FFF2-40B4-BE49-F238E27FC236}">
                <a16:creationId xmlns:a16="http://schemas.microsoft.com/office/drawing/2014/main" id="{E2053A9A-022B-4522-BBE7-DBE0DBDCC5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116685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814388" y="1263838"/>
            <a:ext cx="464537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814388" y="4881887"/>
            <a:ext cx="464537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6082267" y="1263839"/>
            <a:ext cx="3077611" cy="4428048"/>
          </a:xfrm>
          <a:solidFill>
            <a:schemeClr val="tx2"/>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0" name="Graphic 9">
            <a:extLst>
              <a:ext uri="{FF2B5EF4-FFF2-40B4-BE49-F238E27FC236}">
                <a16:creationId xmlns:a16="http://schemas.microsoft.com/office/drawing/2014/main" id="{36F1F091-7277-4EE0-950D-027166DFF9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794573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0" tIns="0" rIns="0" bIns="0"/>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dirty="0"/>
              <a:t>Click to edit Master text styles</a:t>
            </a:r>
          </a:p>
          <a:p>
            <a:pPr lvl="1"/>
            <a:r>
              <a:rPr lang="en-US" dirty="0"/>
              <a:t>Second level</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a:t>Click to edit Master text styles</a:t>
            </a:r>
          </a:p>
          <a:p>
            <a:pPr lvl="1"/>
            <a:r>
              <a:rPr lang="en-US"/>
              <a:t>Second level</a:t>
            </a:r>
          </a:p>
        </p:txBody>
      </p:sp>
      <p:sp>
        <p:nvSpPr>
          <p:cNvPr id="19" name="Text Placeholder 8"/>
          <p:cNvSpPr>
            <a:spLocks noGrp="1"/>
          </p:cNvSpPr>
          <p:nvPr>
            <p:ph type="body" sz="quarter" idx="10"/>
          </p:nvPr>
        </p:nvSpPr>
        <p:spPr>
          <a:xfrm>
            <a:off x="488950" y="1422400"/>
            <a:ext cx="4370388" cy="4598987"/>
          </a:xfrm>
        </p:spPr>
        <p:txBody>
          <a:bodyPr/>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1"/>
          </p:nvPr>
        </p:nvSpPr>
        <p:spPr>
          <a:xfrm>
            <a:off x="5061065" y="1422400"/>
            <a:ext cx="4355985" cy="4598987"/>
          </a:xfrm>
          <a:ln w="6350">
            <a:noFill/>
          </a:ln>
        </p:spPr>
        <p:txBody>
          <a:bodyPr lIns="0" tIns="0" rIns="0" bIns="0"/>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LLP, a UK limited liability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partnership,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Audit Plc, a company incorporated under the UK Companies Acts,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5225448" y="6320118"/>
            <a:ext cx="1391575"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3110745</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22" name="TextBox 21"/>
          <p:cNvSpPr txBox="1"/>
          <p:nvPr userDrawn="1"/>
        </p:nvSpPr>
        <p:spPr>
          <a:xfrm>
            <a:off x="6794593" y="6320118"/>
            <a:ext cx="1546299"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OC301540</a:t>
            </a:r>
          </a:p>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13" name="Shape 8">
            <a:extLst>
              <a:ext uri="{FF2B5EF4-FFF2-40B4-BE49-F238E27FC236}">
                <a16:creationId xmlns:a16="http://schemas.microsoft.com/office/drawing/2014/main" id="{F4B609A8-FE9C-4957-8657-699EDEAE568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E4C35C85-F836-41CD-9F06-4BDFAF6BD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10527989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oleObject" Target="../embeddings/oleObject1.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12.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11.xml"/><Relationship Id="rId5" Type="http://schemas.openxmlformats.org/officeDocument/2006/relationships/slideLayout" Target="../slideLayouts/slideLayout46.xml"/><Relationship Id="rId10" Type="http://schemas.openxmlformats.org/officeDocument/2006/relationships/tags" Target="../tags/tag10.xml"/><Relationship Id="rId4" Type="http://schemas.openxmlformats.org/officeDocument/2006/relationships/slideLayout" Target="../slideLayouts/slideLayout45.xml"/><Relationship Id="rId9" Type="http://schemas.openxmlformats.org/officeDocument/2006/relationships/theme" Target="../theme/theme2.xml"/><Relationship Id="rId14" Type="http://schemas.openxmlformats.org/officeDocument/2006/relationships/image" Target="../media/image13.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52.xml"/><Relationship Id="rId7" Type="http://schemas.openxmlformats.org/officeDocument/2006/relationships/theme" Target="../theme/theme3.xml"/><Relationship Id="rId12" Type="http://schemas.openxmlformats.org/officeDocument/2006/relationships/image" Target="../media/image13.emf"/><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oleObject" Target="../embeddings/oleObject2.bin"/><Relationship Id="rId5" Type="http://schemas.openxmlformats.org/officeDocument/2006/relationships/slideLayout" Target="../slideLayouts/slideLayout54.xml"/><Relationship Id="rId10" Type="http://schemas.openxmlformats.org/officeDocument/2006/relationships/tags" Target="../tags/tag17.xml"/><Relationship Id="rId4" Type="http://schemas.openxmlformats.org/officeDocument/2006/relationships/slideLayout" Target="../slideLayouts/slideLayout53.xml"/><Relationship Id="rId9"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oleObject" Target="../embeddings/oleObject3.bin"/><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ags" Target="../tags/tag21.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20.xml"/><Relationship Id="rId5" Type="http://schemas.openxmlformats.org/officeDocument/2006/relationships/slideLayout" Target="../slideLayouts/slideLayout60.xml"/><Relationship Id="rId10" Type="http://schemas.openxmlformats.org/officeDocument/2006/relationships/tags" Target="../tags/tag19.xml"/><Relationship Id="rId4" Type="http://schemas.openxmlformats.org/officeDocument/2006/relationships/slideLayout" Target="../slideLayouts/slideLayout59.xml"/><Relationship Id="rId9" Type="http://schemas.openxmlformats.org/officeDocument/2006/relationships/theme" Target="../theme/theme4.xml"/><Relationship Id="rId14"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1" y="451575"/>
            <a:ext cx="8918244" cy="7236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88952" y="1422400"/>
            <a:ext cx="8918242" cy="46044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8">
            <a:extLst>
              <a:ext uri="{FF2B5EF4-FFF2-40B4-BE49-F238E27FC236}">
                <a16:creationId xmlns:a16="http://schemas.microsoft.com/office/drawing/2014/main" id="{E7D6E0F2-0A37-4212-916F-A6C7F75DCD76}"/>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895FEAE4-E8C4-4A61-BBED-D667D6DB44FE}"/>
              </a:ext>
              <a:ext uri="{C183D7F6-B498-43B3-948B-1728B52AA6E4}">
                <adec:decorative xmlns:adec="http://schemas.microsoft.com/office/drawing/2017/decorative" val="1"/>
              </a:ext>
            </a:extLst>
          </p:cNvPr>
          <p:cNvSpPr txBox="1"/>
          <p:nvPr userDrawn="1">
            <p:custDataLst>
              <p:tags r:id="rId43"/>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lumMod val="65000"/>
                  </a:schemeClr>
                </a:solidFill>
                <a:latin typeface="+mn-lt"/>
                <a:ea typeface="+mn-ea"/>
                <a:cs typeface="+mn-cs"/>
              </a:rPr>
              <a:t>Document Classification: KPMG Public</a:t>
            </a:r>
          </a:p>
        </p:txBody>
      </p:sp>
      <p:cxnSp>
        <p:nvCxnSpPr>
          <p:cNvPr id="16" name="Straight Connector 15">
            <a:extLst>
              <a:ext uri="{FF2B5EF4-FFF2-40B4-BE49-F238E27FC236}">
                <a16:creationId xmlns:a16="http://schemas.microsoft.com/office/drawing/2014/main" id="{2B4AC6CA-1CB5-4B3C-936C-11C979141293}"/>
              </a:ext>
            </a:extLst>
          </p:cNvPr>
          <p:cNvCxnSpPr/>
          <p:nvPr userDrawn="1"/>
        </p:nvCxnSpPr>
        <p:spPr>
          <a:xfrm>
            <a:off x="915650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DCC065B1-CFE5-4C50-9752-667B9FE90EEA}"/>
              </a:ext>
            </a:extLst>
          </p:cNvPr>
          <p:cNvPicPr>
            <a:picLocks noChangeAspect="1"/>
          </p:cNvPicPr>
          <p:nvPr userDrawn="1"/>
        </p:nvPicPr>
        <p:blipFill>
          <a:blip r:embed="rId45">
            <a:extLst>
              <a:ext uri="{96DAC541-7B7A-43D3-8B79-37D633B846F1}">
                <asvg:svgBlip xmlns:asvg="http://schemas.microsoft.com/office/drawing/2016/SVG/main" r:embed="rId46"/>
              </a:ext>
            </a:extLst>
          </a:blip>
          <a:stretch>
            <a:fillRect/>
          </a:stretch>
        </p:blipFill>
        <p:spPr>
          <a:xfrm>
            <a:off x="488950" y="6373386"/>
            <a:ext cx="428968" cy="172800"/>
          </a:xfrm>
          <a:prstGeom prst="rect">
            <a:avLst/>
          </a:prstGeom>
        </p:spPr>
      </p:pic>
      <p:sp>
        <p:nvSpPr>
          <p:cNvPr id="15" name="TextBox 14">
            <a:extLst>
              <a:ext uri="{FF2B5EF4-FFF2-40B4-BE49-F238E27FC236}">
                <a16:creationId xmlns:a16="http://schemas.microsoft.com/office/drawing/2014/main" id="{BCFA3F29-8002-4550-8BE8-A1B4DF4BDC66}"/>
              </a:ext>
              <a:ext uri="{C183D7F6-B498-43B3-948B-1728B52AA6E4}">
                <adec:decorative xmlns:adec="http://schemas.microsoft.com/office/drawing/2017/decorative" val="1"/>
              </a:ext>
            </a:extLst>
          </p:cNvPr>
          <p:cNvSpPr txBox="1"/>
          <p:nvPr userDrawn="1">
            <p:custDataLst>
              <p:tags r:id="rId44"/>
            </p:custDataLst>
          </p:nvPr>
        </p:nvSpPr>
        <p:spPr>
          <a:xfrm>
            <a:off x="1278148" y="6367454"/>
            <a:ext cx="4565914" cy="276999"/>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1 KPMG Advisory (Hong Kong) Limited, a Hong Kong limited liability company and a member firm of the KPMG network of independent member firms affiliated with KPMG International Cooperative ("KPMG International"), a Swiss entity. All rights reserved. Printed in Hong Kong.</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417308867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853"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 id="2147483819" r:id="rId35"/>
    <p:sldLayoutId id="2147483820" r:id="rId36"/>
    <p:sldLayoutId id="2147483821" r:id="rId37"/>
    <p:sldLayoutId id="2147483822" r:id="rId38"/>
    <p:sldLayoutId id="2147483823" r:id="rId39"/>
    <p:sldLayoutId id="2147483826" r:id="rId40"/>
    <p:sldLayoutId id="2147483843" r:id="rId41"/>
  </p:sldLayoutIdLst>
  <p:txStyles>
    <p:titleStyle>
      <a:lvl1pPr algn="l" defTabSz="914395"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395"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395" rtl="0" eaLnBrk="1" latinLnBrk="0" hangingPunct="1">
        <a:lnSpc>
          <a:spcPct val="100000"/>
        </a:lnSpc>
        <a:spcBef>
          <a:spcPts val="0"/>
        </a:spcBef>
        <a:spcAft>
          <a:spcPts val="600"/>
        </a:spcAft>
        <a:buFontTx/>
        <a:buNone/>
        <a:defRPr sz="900" kern="1200">
          <a:solidFill>
            <a:schemeClr val="tx2"/>
          </a:solidFill>
          <a:latin typeface="+mn-lt"/>
          <a:ea typeface="+mn-ea"/>
          <a:cs typeface="+mn-cs"/>
        </a:defRPr>
      </a:lvl2pPr>
      <a:lvl3pPr marL="179999"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3pPr>
      <a:lvl4pPr marL="359998"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4pPr>
      <a:lvl5pPr marL="539997"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baseline="0">
          <a:solidFill>
            <a:schemeClr val="tx2"/>
          </a:solidFill>
          <a:latin typeface="+mn-lt"/>
          <a:ea typeface="+mn-ea"/>
          <a:cs typeface="+mn-cs"/>
        </a:defRPr>
      </a:lvl5pPr>
      <a:lvl6pPr marL="1097994" indent="-230398"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592" indent="-284399"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190" indent="-228599"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2" userDrawn="1">
          <p15:clr>
            <a:srgbClr val="F26B43"/>
          </p15:clr>
        </p15:guide>
        <p15:guide id="9" pos="317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10"/>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11"/>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2"/>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83236707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8"/>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9"/>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0"/>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4056860725"/>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10"/>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11"/>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2"/>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98014443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0.xml"/><Relationship Id="rId1" Type="http://schemas.openxmlformats.org/officeDocument/2006/relationships/tags" Target="../tags/tag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6" Type="http://schemas.openxmlformats.org/officeDocument/2006/relationships/image" Target="../media/image63.png"/><Relationship Id="rId21" Type="http://schemas.openxmlformats.org/officeDocument/2006/relationships/image" Target="../media/image58.png"/><Relationship Id="rId42" Type="http://schemas.openxmlformats.org/officeDocument/2006/relationships/image" Target="../media/image79.png"/><Relationship Id="rId47" Type="http://schemas.openxmlformats.org/officeDocument/2006/relationships/image" Target="../media/image84.png"/><Relationship Id="rId63" Type="http://schemas.openxmlformats.org/officeDocument/2006/relationships/image" Target="../media/image100.png"/><Relationship Id="rId68" Type="http://schemas.openxmlformats.org/officeDocument/2006/relationships/image" Target="../media/image105.png"/><Relationship Id="rId84" Type="http://schemas.openxmlformats.org/officeDocument/2006/relationships/image" Target="../media/image121.png"/><Relationship Id="rId89" Type="http://schemas.openxmlformats.org/officeDocument/2006/relationships/image" Target="../media/image126.png"/><Relationship Id="rId16" Type="http://schemas.openxmlformats.org/officeDocument/2006/relationships/image" Target="../media/image53.png"/><Relationship Id="rId11" Type="http://schemas.openxmlformats.org/officeDocument/2006/relationships/image" Target="../media/image48.png"/><Relationship Id="rId32" Type="http://schemas.openxmlformats.org/officeDocument/2006/relationships/image" Target="../media/image69.png"/><Relationship Id="rId37" Type="http://schemas.openxmlformats.org/officeDocument/2006/relationships/image" Target="../media/image74.png"/><Relationship Id="rId53" Type="http://schemas.openxmlformats.org/officeDocument/2006/relationships/image" Target="../media/image90.png"/><Relationship Id="rId58" Type="http://schemas.openxmlformats.org/officeDocument/2006/relationships/image" Target="../media/image95.png"/><Relationship Id="rId74" Type="http://schemas.openxmlformats.org/officeDocument/2006/relationships/image" Target="../media/image111.png"/><Relationship Id="rId79" Type="http://schemas.openxmlformats.org/officeDocument/2006/relationships/image" Target="../media/image116.png"/><Relationship Id="rId102" Type="http://schemas.openxmlformats.org/officeDocument/2006/relationships/image" Target="../media/image139.png"/><Relationship Id="rId5" Type="http://schemas.openxmlformats.org/officeDocument/2006/relationships/image" Target="../media/image42.png"/><Relationship Id="rId90" Type="http://schemas.openxmlformats.org/officeDocument/2006/relationships/image" Target="../media/image127.png"/><Relationship Id="rId95" Type="http://schemas.openxmlformats.org/officeDocument/2006/relationships/image" Target="../media/image132.png"/><Relationship Id="rId22" Type="http://schemas.openxmlformats.org/officeDocument/2006/relationships/image" Target="../media/image59.png"/><Relationship Id="rId27" Type="http://schemas.openxmlformats.org/officeDocument/2006/relationships/image" Target="../media/image64.png"/><Relationship Id="rId43" Type="http://schemas.openxmlformats.org/officeDocument/2006/relationships/image" Target="../media/image80.png"/><Relationship Id="rId48" Type="http://schemas.openxmlformats.org/officeDocument/2006/relationships/image" Target="../media/image85.png"/><Relationship Id="rId64" Type="http://schemas.openxmlformats.org/officeDocument/2006/relationships/image" Target="../media/image101.png"/><Relationship Id="rId69" Type="http://schemas.openxmlformats.org/officeDocument/2006/relationships/image" Target="../media/image106.png"/><Relationship Id="rId80" Type="http://schemas.openxmlformats.org/officeDocument/2006/relationships/image" Target="../media/image117.png"/><Relationship Id="rId85" Type="http://schemas.openxmlformats.org/officeDocument/2006/relationships/image" Target="../media/image122.png"/><Relationship Id="rId12" Type="http://schemas.openxmlformats.org/officeDocument/2006/relationships/image" Target="../media/image49.png"/><Relationship Id="rId17" Type="http://schemas.openxmlformats.org/officeDocument/2006/relationships/image" Target="../media/image54.png"/><Relationship Id="rId33" Type="http://schemas.openxmlformats.org/officeDocument/2006/relationships/image" Target="../media/image70.png"/><Relationship Id="rId38" Type="http://schemas.openxmlformats.org/officeDocument/2006/relationships/image" Target="../media/image75.png"/><Relationship Id="rId59" Type="http://schemas.openxmlformats.org/officeDocument/2006/relationships/image" Target="../media/image96.png"/><Relationship Id="rId103" Type="http://schemas.openxmlformats.org/officeDocument/2006/relationships/image" Target="../media/image140.png"/><Relationship Id="rId20" Type="http://schemas.openxmlformats.org/officeDocument/2006/relationships/image" Target="../media/image57.png"/><Relationship Id="rId41" Type="http://schemas.openxmlformats.org/officeDocument/2006/relationships/image" Target="../media/image78.png"/><Relationship Id="rId54" Type="http://schemas.openxmlformats.org/officeDocument/2006/relationships/image" Target="../media/image91.png"/><Relationship Id="rId62" Type="http://schemas.openxmlformats.org/officeDocument/2006/relationships/image" Target="../media/image99.png"/><Relationship Id="rId70" Type="http://schemas.openxmlformats.org/officeDocument/2006/relationships/image" Target="../media/image107.png"/><Relationship Id="rId75" Type="http://schemas.openxmlformats.org/officeDocument/2006/relationships/image" Target="../media/image112.png"/><Relationship Id="rId83" Type="http://schemas.openxmlformats.org/officeDocument/2006/relationships/image" Target="../media/image120.png"/><Relationship Id="rId88" Type="http://schemas.openxmlformats.org/officeDocument/2006/relationships/image" Target="../media/image125.png"/><Relationship Id="rId91" Type="http://schemas.openxmlformats.org/officeDocument/2006/relationships/image" Target="../media/image128.png"/><Relationship Id="rId96" Type="http://schemas.openxmlformats.org/officeDocument/2006/relationships/image" Target="../media/image133.png"/><Relationship Id="rId1" Type="http://schemas.openxmlformats.org/officeDocument/2006/relationships/slideLayout" Target="../slideLayouts/slideLayout13.xml"/><Relationship Id="rId6" Type="http://schemas.openxmlformats.org/officeDocument/2006/relationships/image" Target="../media/image43.png"/><Relationship Id="rId15" Type="http://schemas.openxmlformats.org/officeDocument/2006/relationships/image" Target="../media/image52.png"/><Relationship Id="rId23" Type="http://schemas.openxmlformats.org/officeDocument/2006/relationships/image" Target="../media/image60.png"/><Relationship Id="rId28" Type="http://schemas.openxmlformats.org/officeDocument/2006/relationships/image" Target="../media/image65.png"/><Relationship Id="rId36" Type="http://schemas.openxmlformats.org/officeDocument/2006/relationships/image" Target="../media/image73.png"/><Relationship Id="rId49" Type="http://schemas.openxmlformats.org/officeDocument/2006/relationships/image" Target="../media/image86.png"/><Relationship Id="rId57" Type="http://schemas.openxmlformats.org/officeDocument/2006/relationships/image" Target="../media/image94.png"/><Relationship Id="rId106" Type="http://schemas.openxmlformats.org/officeDocument/2006/relationships/image" Target="../media/image143.png"/><Relationship Id="rId10" Type="http://schemas.openxmlformats.org/officeDocument/2006/relationships/image" Target="../media/image47.png"/><Relationship Id="rId31" Type="http://schemas.openxmlformats.org/officeDocument/2006/relationships/image" Target="../media/image68.png"/><Relationship Id="rId44" Type="http://schemas.openxmlformats.org/officeDocument/2006/relationships/image" Target="../media/image81.png"/><Relationship Id="rId52" Type="http://schemas.openxmlformats.org/officeDocument/2006/relationships/image" Target="../media/image89.png"/><Relationship Id="rId60" Type="http://schemas.openxmlformats.org/officeDocument/2006/relationships/image" Target="../media/image97.png"/><Relationship Id="rId65" Type="http://schemas.openxmlformats.org/officeDocument/2006/relationships/image" Target="../media/image102.png"/><Relationship Id="rId73" Type="http://schemas.openxmlformats.org/officeDocument/2006/relationships/image" Target="../media/image110.png"/><Relationship Id="rId78" Type="http://schemas.openxmlformats.org/officeDocument/2006/relationships/image" Target="../media/image115.png"/><Relationship Id="rId81" Type="http://schemas.openxmlformats.org/officeDocument/2006/relationships/image" Target="../media/image118.png"/><Relationship Id="rId86" Type="http://schemas.openxmlformats.org/officeDocument/2006/relationships/image" Target="../media/image123.png"/><Relationship Id="rId94" Type="http://schemas.openxmlformats.org/officeDocument/2006/relationships/image" Target="../media/image131.png"/><Relationship Id="rId99" Type="http://schemas.openxmlformats.org/officeDocument/2006/relationships/image" Target="../media/image136.png"/><Relationship Id="rId101" Type="http://schemas.openxmlformats.org/officeDocument/2006/relationships/image" Target="../media/image138.png"/><Relationship Id="rId4" Type="http://schemas.openxmlformats.org/officeDocument/2006/relationships/image" Target="../media/image41.png"/><Relationship Id="rId9" Type="http://schemas.openxmlformats.org/officeDocument/2006/relationships/image" Target="../media/image46.png"/><Relationship Id="rId13" Type="http://schemas.openxmlformats.org/officeDocument/2006/relationships/image" Target="../media/image50.png"/><Relationship Id="rId18" Type="http://schemas.openxmlformats.org/officeDocument/2006/relationships/image" Target="../media/image55.png"/><Relationship Id="rId39" Type="http://schemas.openxmlformats.org/officeDocument/2006/relationships/image" Target="../media/image76.png"/><Relationship Id="rId34" Type="http://schemas.openxmlformats.org/officeDocument/2006/relationships/image" Target="../media/image71.png"/><Relationship Id="rId50" Type="http://schemas.openxmlformats.org/officeDocument/2006/relationships/image" Target="../media/image87.png"/><Relationship Id="rId55" Type="http://schemas.openxmlformats.org/officeDocument/2006/relationships/image" Target="../media/image92.png"/><Relationship Id="rId76" Type="http://schemas.openxmlformats.org/officeDocument/2006/relationships/image" Target="../media/image113.png"/><Relationship Id="rId97" Type="http://schemas.openxmlformats.org/officeDocument/2006/relationships/image" Target="../media/image134.png"/><Relationship Id="rId104" Type="http://schemas.openxmlformats.org/officeDocument/2006/relationships/image" Target="../media/image141.png"/><Relationship Id="rId7" Type="http://schemas.openxmlformats.org/officeDocument/2006/relationships/image" Target="../media/image44.png"/><Relationship Id="rId71" Type="http://schemas.openxmlformats.org/officeDocument/2006/relationships/image" Target="../media/image108.png"/><Relationship Id="rId92" Type="http://schemas.openxmlformats.org/officeDocument/2006/relationships/image" Target="../media/image129.png"/><Relationship Id="rId2" Type="http://schemas.openxmlformats.org/officeDocument/2006/relationships/image" Target="../media/image39.png"/><Relationship Id="rId29" Type="http://schemas.openxmlformats.org/officeDocument/2006/relationships/image" Target="../media/image66.png"/><Relationship Id="rId24" Type="http://schemas.openxmlformats.org/officeDocument/2006/relationships/image" Target="../media/image61.png"/><Relationship Id="rId40" Type="http://schemas.openxmlformats.org/officeDocument/2006/relationships/image" Target="../media/image77.png"/><Relationship Id="rId45" Type="http://schemas.openxmlformats.org/officeDocument/2006/relationships/image" Target="../media/image82.png"/><Relationship Id="rId66" Type="http://schemas.openxmlformats.org/officeDocument/2006/relationships/image" Target="../media/image103.png"/><Relationship Id="rId87" Type="http://schemas.openxmlformats.org/officeDocument/2006/relationships/image" Target="../media/image124.png"/><Relationship Id="rId61" Type="http://schemas.openxmlformats.org/officeDocument/2006/relationships/image" Target="../media/image98.png"/><Relationship Id="rId82" Type="http://schemas.openxmlformats.org/officeDocument/2006/relationships/image" Target="../media/image119.png"/><Relationship Id="rId19" Type="http://schemas.openxmlformats.org/officeDocument/2006/relationships/image" Target="../media/image56.png"/><Relationship Id="rId14" Type="http://schemas.openxmlformats.org/officeDocument/2006/relationships/image" Target="../media/image51.png"/><Relationship Id="rId30" Type="http://schemas.openxmlformats.org/officeDocument/2006/relationships/image" Target="../media/image67.png"/><Relationship Id="rId35" Type="http://schemas.openxmlformats.org/officeDocument/2006/relationships/image" Target="../media/image72.png"/><Relationship Id="rId56" Type="http://schemas.openxmlformats.org/officeDocument/2006/relationships/image" Target="../media/image93.png"/><Relationship Id="rId77" Type="http://schemas.openxmlformats.org/officeDocument/2006/relationships/image" Target="../media/image114.png"/><Relationship Id="rId100" Type="http://schemas.openxmlformats.org/officeDocument/2006/relationships/image" Target="../media/image137.png"/><Relationship Id="rId105" Type="http://schemas.openxmlformats.org/officeDocument/2006/relationships/image" Target="../media/image142.png"/><Relationship Id="rId8" Type="http://schemas.openxmlformats.org/officeDocument/2006/relationships/image" Target="../media/image45.png"/><Relationship Id="rId51" Type="http://schemas.openxmlformats.org/officeDocument/2006/relationships/image" Target="../media/image88.png"/><Relationship Id="rId72" Type="http://schemas.openxmlformats.org/officeDocument/2006/relationships/image" Target="../media/image109.png"/><Relationship Id="rId93" Type="http://schemas.openxmlformats.org/officeDocument/2006/relationships/image" Target="../media/image130.png"/><Relationship Id="rId98" Type="http://schemas.openxmlformats.org/officeDocument/2006/relationships/image" Target="../media/image135.png"/><Relationship Id="rId3" Type="http://schemas.openxmlformats.org/officeDocument/2006/relationships/image" Target="../media/image40.png"/><Relationship Id="rId25" Type="http://schemas.openxmlformats.org/officeDocument/2006/relationships/image" Target="../media/image62.png"/><Relationship Id="rId46" Type="http://schemas.openxmlformats.org/officeDocument/2006/relationships/image" Target="../media/image83.png"/><Relationship Id="rId67" Type="http://schemas.openxmlformats.org/officeDocument/2006/relationships/image" Target="../media/image104.png"/></Relationships>
</file>

<file path=ppt/slides/_rels/slide13.xml.rels><?xml version="1.0" encoding="UTF-8" standalone="yes"?>
<Relationships xmlns="http://schemas.openxmlformats.org/package/2006/relationships"><Relationship Id="rId2" Type="http://schemas.openxmlformats.org/officeDocument/2006/relationships/hyperlink" Target="https://pacificsmilesdental.com.au/services/#top" TargetMode="Externa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1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3.emf"/><Relationship Id="rId11" Type="http://schemas.openxmlformats.org/officeDocument/2006/relationships/image" Target="../media/image19.png"/><Relationship Id="rId5" Type="http://schemas.openxmlformats.org/officeDocument/2006/relationships/oleObject" Target="../embeddings/oleObject4.bin"/><Relationship Id="rId10" Type="http://schemas.openxmlformats.org/officeDocument/2006/relationships/image" Target="../media/image18.png"/><Relationship Id="rId4" Type="http://schemas.openxmlformats.org/officeDocument/2006/relationships/notesSlide" Target="../notesSlides/notesSlide1.xml"/><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hyperlink" Target="http://www.google.com.sg/" TargetMode="Externa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slideLayout" Target="../slideLayouts/slideLayout13.xml"/><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tags" Target="../tags/tag29.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28.xml"/><Relationship Id="rId6" Type="http://schemas.openxmlformats.org/officeDocument/2006/relationships/image" Target="../media/image13.emf"/><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oleObject" Target="../embeddings/oleObject6.bin"/><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notesSlide" Target="../notesSlides/notesSlide3.xml"/><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6350F4-6C2D-4118-A6C9-7836F61F4974}"/>
              </a:ext>
            </a:extLst>
          </p:cNvPr>
          <p:cNvSpPr>
            <a:spLocks noGrp="1"/>
          </p:cNvSpPr>
          <p:nvPr>
            <p:ph type="ctrTitle"/>
          </p:nvPr>
        </p:nvSpPr>
        <p:spPr/>
        <p:txBody>
          <a:bodyPr/>
          <a:lstStyle/>
          <a:p>
            <a:r>
              <a:rPr lang="fr-FR" dirty="0"/>
              <a:t>{</a:t>
            </a:r>
            <a:r>
              <a:rPr lang="fr-FR" dirty="0" err="1"/>
              <a:t>company_name</a:t>
            </a:r>
            <a:r>
              <a:rPr lang="fr-FR" dirty="0"/>
              <a:t>} -</a:t>
            </a:r>
            <a:br>
              <a:rPr lang="fr-FR" noProof="0" dirty="0"/>
            </a:br>
            <a:r>
              <a:rPr lang="fr-FR" noProof="0" dirty="0"/>
              <a:t>Asset Pack</a:t>
            </a:r>
            <a:endParaRPr lang="en-GB" dirty="0"/>
          </a:p>
        </p:txBody>
      </p:sp>
      <p:sp>
        <p:nvSpPr>
          <p:cNvPr id="5" name="Subtitle 4"/>
          <p:cNvSpPr>
            <a:spLocks noGrp="1"/>
          </p:cNvSpPr>
          <p:nvPr>
            <p:ph type="body" sz="quarter" idx="11"/>
          </p:nvPr>
        </p:nvSpPr>
        <p:spPr>
          <a:ln>
            <a:noFill/>
          </a:ln>
        </p:spPr>
        <p:txBody>
          <a:bodyPr/>
          <a:lstStyle/>
          <a:p>
            <a:r>
              <a:rPr lang="en-GB" noProof="0" dirty="0"/>
              <a:t>KGS</a:t>
            </a:r>
          </a:p>
          <a:p>
            <a:pPr lvl="1"/>
            <a:r>
              <a:rPr lang="en-GB" dirty="0"/>
              <a:t>{</a:t>
            </a:r>
            <a:r>
              <a:rPr lang="en-GB" dirty="0" err="1"/>
              <a:t>month_year</a:t>
            </a:r>
            <a:r>
              <a:rPr lang="en-GB" dirty="0"/>
              <a:t>}</a:t>
            </a:r>
          </a:p>
          <a:p>
            <a:pPr lvl="1"/>
            <a:endParaRPr lang="en-GB" noProof="0" dirty="0"/>
          </a:p>
        </p:txBody>
      </p:sp>
    </p:spTree>
    <p:extLst>
      <p:ext uri="{BB962C8B-B14F-4D97-AF65-F5344CB8AC3E}">
        <p14:creationId xmlns:p14="http://schemas.microsoft.com/office/powerpoint/2010/main" val="3567858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11"/>
            <p:custDataLst>
              <p:tags r:id="rId1"/>
            </p:custDataLst>
          </p:nvPr>
        </p:nvSpPr>
        <p:spPr/>
        <p:txBody>
          <a:bodyPr/>
          <a:lstStyle/>
          <a:p>
            <a:r>
              <a:rPr lang="en-US" dirty="0"/>
              <a:t>© 2021 KPMG Advisory (Hong Kong) Limited, a Hong Kong limited liability company and a member firm of the KPMG network of independent member firms affiliated with KPMG International Cooperative ("KPMG International"), a Swiss entity. All rights reserved. Printed in Hong Kong.</a:t>
            </a:r>
          </a:p>
        </p:txBody>
      </p:sp>
      <p:sp>
        <p:nvSpPr>
          <p:cNvPr id="30" name="Text Placeholder 29"/>
          <p:cNvSpPr>
            <a:spLocks noGrp="1"/>
          </p:cNvSpPr>
          <p:nvPr>
            <p:ph type="body" sz="quarter" idx="12"/>
          </p:nvPr>
        </p:nvSpPr>
        <p:spPr>
          <a:xfrm>
            <a:off x="1716001" y="5715288"/>
            <a:ext cx="7375525" cy="119064"/>
          </a:xfrm>
        </p:spPr>
        <p:txBody>
          <a:bodyPr/>
          <a:lstStyle/>
          <a:p>
            <a:r>
              <a:rPr lang="en-GB" dirty="0"/>
              <a:t>The KPMG name and logo are registered trademarks or trademarks of KPMG International. </a:t>
            </a:r>
          </a:p>
        </p:txBody>
      </p:sp>
      <p:sp>
        <p:nvSpPr>
          <p:cNvPr id="40" name="Text Placeholder 39"/>
          <p:cNvSpPr>
            <a:spLocks noGrp="1"/>
          </p:cNvSpPr>
          <p:nvPr>
            <p:ph type="body" sz="quarter" idx="13"/>
          </p:nvPr>
        </p:nvSpPr>
        <p:spPr/>
        <p:txBody>
          <a:bodyPr/>
          <a:lstStyle/>
          <a:p>
            <a:r>
              <a:rPr lang="en-GB" dirty="0"/>
              <a:t>The information contained herein is of a general nature and is not intended to address the circumstances of any particular individual or entity. Although we endeavou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46" name="Text Placeholder 45"/>
          <p:cNvSpPr>
            <a:spLocks noGrp="1"/>
          </p:cNvSpPr>
          <p:nvPr>
            <p:ph type="body" sz="quarter" idx="14"/>
          </p:nvPr>
        </p:nvSpPr>
        <p:spPr/>
        <p:txBody>
          <a:bodyPr/>
          <a:lstStyle/>
          <a:p>
            <a:r>
              <a:rPr lang="en-GB" dirty="0"/>
              <a:t>kpmg.com/socialmedia</a:t>
            </a:r>
          </a:p>
        </p:txBody>
      </p:sp>
      <p:sp>
        <p:nvSpPr>
          <p:cNvPr id="47" name="Text Placeholder 46"/>
          <p:cNvSpPr>
            <a:spLocks noGrp="1"/>
          </p:cNvSpPr>
          <p:nvPr>
            <p:ph type="body" sz="quarter" idx="15"/>
          </p:nvPr>
        </p:nvSpPr>
        <p:spPr/>
        <p:txBody>
          <a:bodyPr/>
          <a:lstStyle/>
          <a:p>
            <a:r>
              <a:rPr lang="en-GB" dirty="0"/>
              <a:t>kpmg.com/app</a:t>
            </a:r>
          </a:p>
        </p:txBody>
      </p:sp>
    </p:spTree>
    <p:extLst>
      <p:ext uri="{BB962C8B-B14F-4D97-AF65-F5344CB8AC3E}">
        <p14:creationId xmlns:p14="http://schemas.microsoft.com/office/powerpoint/2010/main" val="2317019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3E3573-9736-D958-14E5-3702F0648EDB}"/>
              </a:ext>
            </a:extLst>
          </p:cNvPr>
          <p:cNvSpPr>
            <a:spLocks noGrp="1"/>
          </p:cNvSpPr>
          <p:nvPr>
            <p:ph type="body" sz="quarter" idx="10"/>
          </p:nvPr>
        </p:nvSpPr>
        <p:spPr/>
        <p:txBody>
          <a:bodyPr/>
          <a:lstStyle/>
          <a:p>
            <a:r>
              <a:rPr lang="en-US" dirty="0"/>
              <a:t>{</a:t>
            </a:r>
            <a:r>
              <a:rPr lang="en-US" dirty="0" err="1"/>
              <a:t>deal_intelligence</a:t>
            </a:r>
            <a:r>
              <a:rPr lang="en-US" dirty="0"/>
              <a:t>}</a:t>
            </a:r>
            <a:endParaRPr lang="en-SG" dirty="0"/>
          </a:p>
        </p:txBody>
      </p:sp>
      <p:sp>
        <p:nvSpPr>
          <p:cNvPr id="3" name="Text Placeholder 2">
            <a:extLst>
              <a:ext uri="{FF2B5EF4-FFF2-40B4-BE49-F238E27FC236}">
                <a16:creationId xmlns:a16="http://schemas.microsoft.com/office/drawing/2014/main" id="{FD19AE16-C448-1322-A76C-A611F9440A9D}"/>
              </a:ext>
            </a:extLst>
          </p:cNvPr>
          <p:cNvSpPr>
            <a:spLocks noGrp="1"/>
          </p:cNvSpPr>
          <p:nvPr>
            <p:ph type="body" sz="quarter" idx="11"/>
          </p:nvPr>
        </p:nvSpPr>
        <p:spPr/>
        <p:txBody>
          <a:bodyPr/>
          <a:lstStyle/>
          <a:p>
            <a:r>
              <a:rPr lang="en-US" dirty="0"/>
              <a:t>Appendix A</a:t>
            </a:r>
            <a:endParaRPr lang="en-SG" dirty="0"/>
          </a:p>
        </p:txBody>
      </p:sp>
      <p:sp>
        <p:nvSpPr>
          <p:cNvPr id="4" name="Title 3">
            <a:extLst>
              <a:ext uri="{FF2B5EF4-FFF2-40B4-BE49-F238E27FC236}">
                <a16:creationId xmlns:a16="http://schemas.microsoft.com/office/drawing/2014/main" id="{E8F29F3C-5680-39CD-4878-A6D3DB9A7AF8}"/>
              </a:ext>
            </a:extLst>
          </p:cNvPr>
          <p:cNvSpPr>
            <a:spLocks noGrp="1"/>
          </p:cNvSpPr>
          <p:nvPr>
            <p:ph type="title"/>
          </p:nvPr>
        </p:nvSpPr>
        <p:spPr/>
        <p:txBody>
          <a:bodyPr/>
          <a:lstStyle/>
          <a:p>
            <a:r>
              <a:rPr lang="en-US" dirty="0"/>
              <a:t>Deal Intelligence</a:t>
            </a:r>
            <a:endParaRPr lang="en-SG" dirty="0"/>
          </a:p>
        </p:txBody>
      </p:sp>
    </p:spTree>
    <p:extLst>
      <p:ext uri="{BB962C8B-B14F-4D97-AF65-F5344CB8AC3E}">
        <p14:creationId xmlns:p14="http://schemas.microsoft.com/office/powerpoint/2010/main" val="1008048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8513C-CF70-4941-0B37-1E6CA222B764}"/>
              </a:ext>
            </a:extLst>
          </p:cNvPr>
          <p:cNvSpPr>
            <a:spLocks noGrp="1"/>
          </p:cNvSpPr>
          <p:nvPr>
            <p:ph type="title"/>
          </p:nvPr>
        </p:nvSpPr>
        <p:spPr/>
        <p:txBody>
          <a:bodyPr/>
          <a:lstStyle/>
          <a:p>
            <a:r>
              <a:rPr lang="en-US" dirty="0"/>
              <a:t>Country Flags</a:t>
            </a:r>
            <a:endParaRPr lang="en-SG" dirty="0"/>
          </a:p>
        </p:txBody>
      </p:sp>
      <p:sp>
        <p:nvSpPr>
          <p:cNvPr id="3" name="Text Placeholder 2">
            <a:extLst>
              <a:ext uri="{FF2B5EF4-FFF2-40B4-BE49-F238E27FC236}">
                <a16:creationId xmlns:a16="http://schemas.microsoft.com/office/drawing/2014/main" id="{60145650-F1B0-68E5-1C46-D6284A04E901}"/>
              </a:ext>
            </a:extLst>
          </p:cNvPr>
          <p:cNvSpPr>
            <a:spLocks noGrp="1"/>
          </p:cNvSpPr>
          <p:nvPr>
            <p:ph type="body" sz="quarter" idx="11"/>
          </p:nvPr>
        </p:nvSpPr>
        <p:spPr/>
        <p:txBody>
          <a:bodyPr/>
          <a:lstStyle/>
          <a:p>
            <a:r>
              <a:rPr lang="en-US" dirty="0"/>
              <a:t>Appendix B</a:t>
            </a:r>
            <a:endParaRPr lang="en-SG" dirty="0"/>
          </a:p>
        </p:txBody>
      </p:sp>
      <p:pic>
        <p:nvPicPr>
          <p:cNvPr id="24" name="Picture 23">
            <a:extLst>
              <a:ext uri="{FF2B5EF4-FFF2-40B4-BE49-F238E27FC236}">
                <a16:creationId xmlns:a16="http://schemas.microsoft.com/office/drawing/2014/main" id="{929A3752-ABFA-C5C9-5ADD-96287DBA7DAD}"/>
              </a:ext>
            </a:extLst>
          </p:cNvPr>
          <p:cNvPicPr>
            <a:picLocks/>
          </p:cNvPicPr>
          <p:nvPr/>
        </p:nvPicPr>
        <p:blipFill>
          <a:blip r:embed="rId2"/>
          <a:stretch>
            <a:fillRect/>
          </a:stretch>
        </p:blipFill>
        <p:spPr>
          <a:xfrm>
            <a:off x="5095827" y="4650957"/>
            <a:ext cx="475488" cy="320040"/>
          </a:xfrm>
          <a:prstGeom prst="rect">
            <a:avLst/>
          </a:prstGeom>
        </p:spPr>
      </p:pic>
      <p:pic>
        <p:nvPicPr>
          <p:cNvPr id="5" name="Picture 4">
            <a:extLst>
              <a:ext uri="{FF2B5EF4-FFF2-40B4-BE49-F238E27FC236}">
                <a16:creationId xmlns:a16="http://schemas.microsoft.com/office/drawing/2014/main" id="{9EEFCCE3-A9F6-237D-2139-4E55C9FB9CF5}"/>
              </a:ext>
            </a:extLst>
          </p:cNvPr>
          <p:cNvPicPr>
            <a:picLocks/>
          </p:cNvPicPr>
          <p:nvPr/>
        </p:nvPicPr>
        <p:blipFill>
          <a:blip r:embed="rId3"/>
          <a:stretch>
            <a:fillRect/>
          </a:stretch>
        </p:blipFill>
        <p:spPr>
          <a:xfrm>
            <a:off x="232571" y="1188836"/>
            <a:ext cx="475488" cy="320040"/>
          </a:xfrm>
          <a:prstGeom prst="rect">
            <a:avLst/>
          </a:prstGeom>
        </p:spPr>
      </p:pic>
      <p:pic>
        <p:nvPicPr>
          <p:cNvPr id="7" name="Picture 6">
            <a:extLst>
              <a:ext uri="{FF2B5EF4-FFF2-40B4-BE49-F238E27FC236}">
                <a16:creationId xmlns:a16="http://schemas.microsoft.com/office/drawing/2014/main" id="{8770AAEC-CE8D-D2D7-F71D-246E7ED9017B}"/>
              </a:ext>
            </a:extLst>
          </p:cNvPr>
          <p:cNvPicPr>
            <a:picLocks/>
          </p:cNvPicPr>
          <p:nvPr/>
        </p:nvPicPr>
        <p:blipFill>
          <a:blip r:embed="rId4"/>
          <a:stretch>
            <a:fillRect/>
          </a:stretch>
        </p:blipFill>
        <p:spPr>
          <a:xfrm>
            <a:off x="839038" y="1188836"/>
            <a:ext cx="475488" cy="320040"/>
          </a:xfrm>
          <a:prstGeom prst="rect">
            <a:avLst/>
          </a:prstGeom>
        </p:spPr>
      </p:pic>
      <p:pic>
        <p:nvPicPr>
          <p:cNvPr id="9" name="Picture 8">
            <a:extLst>
              <a:ext uri="{FF2B5EF4-FFF2-40B4-BE49-F238E27FC236}">
                <a16:creationId xmlns:a16="http://schemas.microsoft.com/office/drawing/2014/main" id="{947428E9-BF4B-6E69-D95F-578C2C908933}"/>
              </a:ext>
            </a:extLst>
          </p:cNvPr>
          <p:cNvPicPr>
            <a:picLocks/>
          </p:cNvPicPr>
          <p:nvPr/>
        </p:nvPicPr>
        <p:blipFill>
          <a:blip r:embed="rId5"/>
          <a:stretch>
            <a:fillRect/>
          </a:stretch>
        </p:blipFill>
        <p:spPr>
          <a:xfrm>
            <a:off x="232571" y="1912436"/>
            <a:ext cx="475488" cy="320040"/>
          </a:xfrm>
          <a:prstGeom prst="rect">
            <a:avLst/>
          </a:prstGeom>
        </p:spPr>
      </p:pic>
      <p:pic>
        <p:nvPicPr>
          <p:cNvPr id="11" name="Picture 10">
            <a:extLst>
              <a:ext uri="{FF2B5EF4-FFF2-40B4-BE49-F238E27FC236}">
                <a16:creationId xmlns:a16="http://schemas.microsoft.com/office/drawing/2014/main" id="{B01F9931-9EDB-9AC8-B966-38C5D7C09403}"/>
              </a:ext>
            </a:extLst>
          </p:cNvPr>
          <p:cNvPicPr>
            <a:picLocks/>
          </p:cNvPicPr>
          <p:nvPr/>
        </p:nvPicPr>
        <p:blipFill>
          <a:blip r:embed="rId6"/>
          <a:stretch>
            <a:fillRect/>
          </a:stretch>
        </p:blipFill>
        <p:spPr>
          <a:xfrm>
            <a:off x="1445505" y="1188836"/>
            <a:ext cx="475488" cy="320040"/>
          </a:xfrm>
          <a:prstGeom prst="rect">
            <a:avLst/>
          </a:prstGeom>
        </p:spPr>
      </p:pic>
      <p:pic>
        <p:nvPicPr>
          <p:cNvPr id="13" name="Picture 12">
            <a:extLst>
              <a:ext uri="{FF2B5EF4-FFF2-40B4-BE49-F238E27FC236}">
                <a16:creationId xmlns:a16="http://schemas.microsoft.com/office/drawing/2014/main" id="{516FCC75-1F33-A761-0C28-D02E33D2F7F0}"/>
              </a:ext>
            </a:extLst>
          </p:cNvPr>
          <p:cNvPicPr>
            <a:picLocks/>
          </p:cNvPicPr>
          <p:nvPr/>
        </p:nvPicPr>
        <p:blipFill>
          <a:blip r:embed="rId7"/>
          <a:stretch>
            <a:fillRect/>
          </a:stretch>
        </p:blipFill>
        <p:spPr>
          <a:xfrm>
            <a:off x="839038" y="1912436"/>
            <a:ext cx="475488" cy="320040"/>
          </a:xfrm>
          <a:prstGeom prst="rect">
            <a:avLst/>
          </a:prstGeom>
        </p:spPr>
      </p:pic>
      <p:pic>
        <p:nvPicPr>
          <p:cNvPr id="15" name="Picture 14">
            <a:extLst>
              <a:ext uri="{FF2B5EF4-FFF2-40B4-BE49-F238E27FC236}">
                <a16:creationId xmlns:a16="http://schemas.microsoft.com/office/drawing/2014/main" id="{F238BD5C-39EE-0BA4-01D8-19E40DE6BF4D}"/>
              </a:ext>
            </a:extLst>
          </p:cNvPr>
          <p:cNvPicPr>
            <a:picLocks/>
          </p:cNvPicPr>
          <p:nvPr/>
        </p:nvPicPr>
        <p:blipFill>
          <a:blip r:embed="rId8"/>
          <a:stretch>
            <a:fillRect/>
          </a:stretch>
        </p:blipFill>
        <p:spPr>
          <a:xfrm>
            <a:off x="1445505" y="1912436"/>
            <a:ext cx="475488" cy="320040"/>
          </a:xfrm>
          <a:prstGeom prst="rect">
            <a:avLst/>
          </a:prstGeom>
        </p:spPr>
      </p:pic>
      <p:pic>
        <p:nvPicPr>
          <p:cNvPr id="17" name="Picture 16">
            <a:extLst>
              <a:ext uri="{FF2B5EF4-FFF2-40B4-BE49-F238E27FC236}">
                <a16:creationId xmlns:a16="http://schemas.microsoft.com/office/drawing/2014/main" id="{5BA660C9-9FA4-0E1C-C2A8-CD942478907B}"/>
              </a:ext>
            </a:extLst>
          </p:cNvPr>
          <p:cNvPicPr>
            <a:picLocks/>
          </p:cNvPicPr>
          <p:nvPr/>
        </p:nvPicPr>
        <p:blipFill>
          <a:blip r:embed="rId9"/>
          <a:stretch>
            <a:fillRect/>
          </a:stretch>
        </p:blipFill>
        <p:spPr>
          <a:xfrm>
            <a:off x="2051972" y="1912436"/>
            <a:ext cx="475488" cy="320040"/>
          </a:xfrm>
          <a:prstGeom prst="rect">
            <a:avLst/>
          </a:prstGeom>
        </p:spPr>
      </p:pic>
      <p:pic>
        <p:nvPicPr>
          <p:cNvPr id="19" name="Picture 18">
            <a:extLst>
              <a:ext uri="{FF2B5EF4-FFF2-40B4-BE49-F238E27FC236}">
                <a16:creationId xmlns:a16="http://schemas.microsoft.com/office/drawing/2014/main" id="{ABD73C7A-57B9-EEE3-04D9-12C4B7EB3468}"/>
              </a:ext>
            </a:extLst>
          </p:cNvPr>
          <p:cNvPicPr>
            <a:picLocks/>
          </p:cNvPicPr>
          <p:nvPr/>
        </p:nvPicPr>
        <p:blipFill>
          <a:blip r:embed="rId10"/>
          <a:stretch>
            <a:fillRect/>
          </a:stretch>
        </p:blipFill>
        <p:spPr>
          <a:xfrm>
            <a:off x="3264906" y="1912436"/>
            <a:ext cx="475488" cy="320040"/>
          </a:xfrm>
          <a:prstGeom prst="rect">
            <a:avLst/>
          </a:prstGeom>
        </p:spPr>
      </p:pic>
      <p:pic>
        <p:nvPicPr>
          <p:cNvPr id="21" name="Picture 20">
            <a:extLst>
              <a:ext uri="{FF2B5EF4-FFF2-40B4-BE49-F238E27FC236}">
                <a16:creationId xmlns:a16="http://schemas.microsoft.com/office/drawing/2014/main" id="{EE53CEA2-43DF-C99C-AAB8-2AF77070AEBE}"/>
              </a:ext>
            </a:extLst>
          </p:cNvPr>
          <p:cNvPicPr>
            <a:picLocks/>
          </p:cNvPicPr>
          <p:nvPr/>
        </p:nvPicPr>
        <p:blipFill>
          <a:blip r:embed="rId11"/>
          <a:stretch>
            <a:fillRect/>
          </a:stretch>
        </p:blipFill>
        <p:spPr>
          <a:xfrm>
            <a:off x="2658439" y="1912436"/>
            <a:ext cx="475488" cy="320040"/>
          </a:xfrm>
          <a:prstGeom prst="rect">
            <a:avLst/>
          </a:prstGeom>
        </p:spPr>
      </p:pic>
      <p:pic>
        <p:nvPicPr>
          <p:cNvPr id="23" name="Picture 22">
            <a:extLst>
              <a:ext uri="{FF2B5EF4-FFF2-40B4-BE49-F238E27FC236}">
                <a16:creationId xmlns:a16="http://schemas.microsoft.com/office/drawing/2014/main" id="{796A98E6-23DD-C7C8-94D8-DF7A08CAEC91}"/>
              </a:ext>
            </a:extLst>
          </p:cNvPr>
          <p:cNvPicPr>
            <a:picLocks/>
          </p:cNvPicPr>
          <p:nvPr/>
        </p:nvPicPr>
        <p:blipFill>
          <a:blip r:embed="rId12"/>
          <a:stretch>
            <a:fillRect/>
          </a:stretch>
        </p:blipFill>
        <p:spPr>
          <a:xfrm>
            <a:off x="3871373" y="1912436"/>
            <a:ext cx="475488" cy="320040"/>
          </a:xfrm>
          <a:prstGeom prst="rect">
            <a:avLst/>
          </a:prstGeom>
        </p:spPr>
      </p:pic>
      <p:pic>
        <p:nvPicPr>
          <p:cNvPr id="25" name="Picture 24">
            <a:extLst>
              <a:ext uri="{FF2B5EF4-FFF2-40B4-BE49-F238E27FC236}">
                <a16:creationId xmlns:a16="http://schemas.microsoft.com/office/drawing/2014/main" id="{BEE4730F-C6E1-A9D6-7559-15C9B4B73333}"/>
              </a:ext>
            </a:extLst>
          </p:cNvPr>
          <p:cNvPicPr>
            <a:picLocks/>
          </p:cNvPicPr>
          <p:nvPr/>
        </p:nvPicPr>
        <p:blipFill>
          <a:blip r:embed="rId13"/>
          <a:stretch>
            <a:fillRect/>
          </a:stretch>
        </p:blipFill>
        <p:spPr>
          <a:xfrm>
            <a:off x="232571" y="2636036"/>
            <a:ext cx="475488" cy="320040"/>
          </a:xfrm>
          <a:prstGeom prst="rect">
            <a:avLst/>
          </a:prstGeom>
        </p:spPr>
      </p:pic>
      <p:pic>
        <p:nvPicPr>
          <p:cNvPr id="27" name="Picture 26">
            <a:extLst>
              <a:ext uri="{FF2B5EF4-FFF2-40B4-BE49-F238E27FC236}">
                <a16:creationId xmlns:a16="http://schemas.microsoft.com/office/drawing/2014/main" id="{20C6C43E-BB96-C2B4-44F1-9EF6325A9FC0}"/>
              </a:ext>
            </a:extLst>
          </p:cNvPr>
          <p:cNvPicPr>
            <a:picLocks/>
          </p:cNvPicPr>
          <p:nvPr/>
        </p:nvPicPr>
        <p:blipFill>
          <a:blip r:embed="rId14"/>
          <a:stretch>
            <a:fillRect/>
          </a:stretch>
        </p:blipFill>
        <p:spPr>
          <a:xfrm>
            <a:off x="5084307" y="1912436"/>
            <a:ext cx="475488" cy="320040"/>
          </a:xfrm>
          <a:prstGeom prst="rect">
            <a:avLst/>
          </a:prstGeom>
        </p:spPr>
      </p:pic>
      <p:pic>
        <p:nvPicPr>
          <p:cNvPr id="29" name="Picture 28">
            <a:extLst>
              <a:ext uri="{FF2B5EF4-FFF2-40B4-BE49-F238E27FC236}">
                <a16:creationId xmlns:a16="http://schemas.microsoft.com/office/drawing/2014/main" id="{FF70C549-3CC3-94B1-B8AD-03517042520A}"/>
              </a:ext>
            </a:extLst>
          </p:cNvPr>
          <p:cNvPicPr>
            <a:picLocks/>
          </p:cNvPicPr>
          <p:nvPr/>
        </p:nvPicPr>
        <p:blipFill>
          <a:blip r:embed="rId15"/>
          <a:stretch>
            <a:fillRect/>
          </a:stretch>
        </p:blipFill>
        <p:spPr>
          <a:xfrm>
            <a:off x="5084307" y="2636036"/>
            <a:ext cx="475488" cy="320040"/>
          </a:xfrm>
          <a:prstGeom prst="rect">
            <a:avLst/>
          </a:prstGeom>
        </p:spPr>
      </p:pic>
      <p:pic>
        <p:nvPicPr>
          <p:cNvPr id="31" name="Picture 30">
            <a:extLst>
              <a:ext uri="{FF2B5EF4-FFF2-40B4-BE49-F238E27FC236}">
                <a16:creationId xmlns:a16="http://schemas.microsoft.com/office/drawing/2014/main" id="{932CB00B-743E-97FB-4316-1331D94A4DB5}"/>
              </a:ext>
            </a:extLst>
          </p:cNvPr>
          <p:cNvPicPr>
            <a:picLocks/>
          </p:cNvPicPr>
          <p:nvPr/>
        </p:nvPicPr>
        <p:blipFill>
          <a:blip r:embed="rId16"/>
          <a:stretch>
            <a:fillRect/>
          </a:stretch>
        </p:blipFill>
        <p:spPr>
          <a:xfrm>
            <a:off x="4477840" y="1912436"/>
            <a:ext cx="475488" cy="320040"/>
          </a:xfrm>
          <a:prstGeom prst="rect">
            <a:avLst/>
          </a:prstGeom>
        </p:spPr>
      </p:pic>
      <p:pic>
        <p:nvPicPr>
          <p:cNvPr id="33" name="Picture 32">
            <a:extLst>
              <a:ext uri="{FF2B5EF4-FFF2-40B4-BE49-F238E27FC236}">
                <a16:creationId xmlns:a16="http://schemas.microsoft.com/office/drawing/2014/main" id="{70F37F6B-999A-144C-B216-7109D81ABF44}"/>
              </a:ext>
            </a:extLst>
          </p:cNvPr>
          <p:cNvPicPr>
            <a:picLocks/>
          </p:cNvPicPr>
          <p:nvPr/>
        </p:nvPicPr>
        <p:blipFill>
          <a:blip r:embed="rId17"/>
          <a:stretch>
            <a:fillRect/>
          </a:stretch>
        </p:blipFill>
        <p:spPr>
          <a:xfrm>
            <a:off x="5690774" y="1912436"/>
            <a:ext cx="475488" cy="320040"/>
          </a:xfrm>
          <a:prstGeom prst="rect">
            <a:avLst/>
          </a:prstGeom>
        </p:spPr>
      </p:pic>
      <p:pic>
        <p:nvPicPr>
          <p:cNvPr id="35" name="Picture 34">
            <a:extLst>
              <a:ext uri="{FF2B5EF4-FFF2-40B4-BE49-F238E27FC236}">
                <a16:creationId xmlns:a16="http://schemas.microsoft.com/office/drawing/2014/main" id="{004C84B1-90DA-3386-372F-19B50525CA0D}"/>
              </a:ext>
            </a:extLst>
          </p:cNvPr>
          <p:cNvPicPr>
            <a:picLocks/>
          </p:cNvPicPr>
          <p:nvPr/>
        </p:nvPicPr>
        <p:blipFill>
          <a:blip r:embed="rId18"/>
          <a:stretch>
            <a:fillRect/>
          </a:stretch>
        </p:blipFill>
        <p:spPr>
          <a:xfrm>
            <a:off x="3871373" y="2636036"/>
            <a:ext cx="475488" cy="320040"/>
          </a:xfrm>
          <a:prstGeom prst="rect">
            <a:avLst/>
          </a:prstGeom>
        </p:spPr>
      </p:pic>
      <p:pic>
        <p:nvPicPr>
          <p:cNvPr id="37" name="Picture 36">
            <a:extLst>
              <a:ext uri="{FF2B5EF4-FFF2-40B4-BE49-F238E27FC236}">
                <a16:creationId xmlns:a16="http://schemas.microsoft.com/office/drawing/2014/main" id="{CB0E60AB-5939-3775-1331-F118A47C5DD3}"/>
              </a:ext>
            </a:extLst>
          </p:cNvPr>
          <p:cNvPicPr>
            <a:picLocks/>
          </p:cNvPicPr>
          <p:nvPr/>
        </p:nvPicPr>
        <p:blipFill>
          <a:blip r:embed="rId19"/>
          <a:stretch>
            <a:fillRect/>
          </a:stretch>
        </p:blipFill>
        <p:spPr>
          <a:xfrm>
            <a:off x="3264906" y="2636036"/>
            <a:ext cx="475488" cy="320040"/>
          </a:xfrm>
          <a:prstGeom prst="rect">
            <a:avLst/>
          </a:prstGeom>
        </p:spPr>
      </p:pic>
      <p:pic>
        <p:nvPicPr>
          <p:cNvPr id="39" name="Picture 38">
            <a:extLst>
              <a:ext uri="{FF2B5EF4-FFF2-40B4-BE49-F238E27FC236}">
                <a16:creationId xmlns:a16="http://schemas.microsoft.com/office/drawing/2014/main" id="{BC563513-3916-3888-08FD-8BAF2DA66EF5}"/>
              </a:ext>
            </a:extLst>
          </p:cNvPr>
          <p:cNvPicPr>
            <a:picLocks/>
          </p:cNvPicPr>
          <p:nvPr/>
        </p:nvPicPr>
        <p:blipFill>
          <a:blip r:embed="rId20"/>
          <a:stretch>
            <a:fillRect/>
          </a:stretch>
        </p:blipFill>
        <p:spPr>
          <a:xfrm>
            <a:off x="4477840" y="2636036"/>
            <a:ext cx="475488" cy="320040"/>
          </a:xfrm>
          <a:prstGeom prst="rect">
            <a:avLst/>
          </a:prstGeom>
        </p:spPr>
      </p:pic>
      <p:pic>
        <p:nvPicPr>
          <p:cNvPr id="41" name="Picture 40">
            <a:extLst>
              <a:ext uri="{FF2B5EF4-FFF2-40B4-BE49-F238E27FC236}">
                <a16:creationId xmlns:a16="http://schemas.microsoft.com/office/drawing/2014/main" id="{0ED8BF95-05E1-699C-C80B-08FD0E9536F3}"/>
              </a:ext>
            </a:extLst>
          </p:cNvPr>
          <p:cNvPicPr>
            <a:picLocks/>
          </p:cNvPicPr>
          <p:nvPr/>
        </p:nvPicPr>
        <p:blipFill>
          <a:blip r:embed="rId21"/>
          <a:stretch>
            <a:fillRect/>
          </a:stretch>
        </p:blipFill>
        <p:spPr>
          <a:xfrm>
            <a:off x="2658439" y="2636036"/>
            <a:ext cx="475488" cy="320040"/>
          </a:xfrm>
          <a:prstGeom prst="rect">
            <a:avLst/>
          </a:prstGeom>
        </p:spPr>
      </p:pic>
      <p:pic>
        <p:nvPicPr>
          <p:cNvPr id="43" name="Picture 42">
            <a:extLst>
              <a:ext uri="{FF2B5EF4-FFF2-40B4-BE49-F238E27FC236}">
                <a16:creationId xmlns:a16="http://schemas.microsoft.com/office/drawing/2014/main" id="{B78E0218-3AE0-79E5-C301-C560736BD269}"/>
              </a:ext>
            </a:extLst>
          </p:cNvPr>
          <p:cNvPicPr>
            <a:picLocks/>
          </p:cNvPicPr>
          <p:nvPr/>
        </p:nvPicPr>
        <p:blipFill>
          <a:blip r:embed="rId22"/>
          <a:stretch>
            <a:fillRect/>
          </a:stretch>
        </p:blipFill>
        <p:spPr>
          <a:xfrm>
            <a:off x="2051972" y="1188836"/>
            <a:ext cx="475488" cy="320040"/>
          </a:xfrm>
          <a:prstGeom prst="rect">
            <a:avLst/>
          </a:prstGeom>
        </p:spPr>
      </p:pic>
      <p:pic>
        <p:nvPicPr>
          <p:cNvPr id="45" name="Picture 44">
            <a:extLst>
              <a:ext uri="{FF2B5EF4-FFF2-40B4-BE49-F238E27FC236}">
                <a16:creationId xmlns:a16="http://schemas.microsoft.com/office/drawing/2014/main" id="{0B667FC2-C2E2-D780-1709-D18A3D15AF10}"/>
              </a:ext>
            </a:extLst>
          </p:cNvPr>
          <p:cNvPicPr>
            <a:picLocks/>
          </p:cNvPicPr>
          <p:nvPr/>
        </p:nvPicPr>
        <p:blipFill>
          <a:blip r:embed="rId23"/>
          <a:stretch>
            <a:fillRect/>
          </a:stretch>
        </p:blipFill>
        <p:spPr>
          <a:xfrm>
            <a:off x="2658439" y="1188836"/>
            <a:ext cx="475488" cy="320040"/>
          </a:xfrm>
          <a:prstGeom prst="rect">
            <a:avLst/>
          </a:prstGeom>
        </p:spPr>
      </p:pic>
      <p:pic>
        <p:nvPicPr>
          <p:cNvPr id="47" name="Picture 46">
            <a:extLst>
              <a:ext uri="{FF2B5EF4-FFF2-40B4-BE49-F238E27FC236}">
                <a16:creationId xmlns:a16="http://schemas.microsoft.com/office/drawing/2014/main" id="{A8958D31-8F52-8E74-E5C1-24224C101FCF}"/>
              </a:ext>
            </a:extLst>
          </p:cNvPr>
          <p:cNvPicPr>
            <a:picLocks/>
          </p:cNvPicPr>
          <p:nvPr/>
        </p:nvPicPr>
        <p:blipFill>
          <a:blip r:embed="rId24"/>
          <a:stretch>
            <a:fillRect/>
          </a:stretch>
        </p:blipFill>
        <p:spPr>
          <a:xfrm>
            <a:off x="3264906" y="1188836"/>
            <a:ext cx="475488" cy="320040"/>
          </a:xfrm>
          <a:prstGeom prst="rect">
            <a:avLst/>
          </a:prstGeom>
        </p:spPr>
      </p:pic>
      <p:pic>
        <p:nvPicPr>
          <p:cNvPr id="49" name="Picture 48">
            <a:extLst>
              <a:ext uri="{FF2B5EF4-FFF2-40B4-BE49-F238E27FC236}">
                <a16:creationId xmlns:a16="http://schemas.microsoft.com/office/drawing/2014/main" id="{6ED2A9B0-49F1-7CD5-FBC9-861F26DB167B}"/>
              </a:ext>
            </a:extLst>
          </p:cNvPr>
          <p:cNvPicPr>
            <a:picLocks/>
          </p:cNvPicPr>
          <p:nvPr/>
        </p:nvPicPr>
        <p:blipFill>
          <a:blip r:embed="rId25"/>
          <a:stretch>
            <a:fillRect/>
          </a:stretch>
        </p:blipFill>
        <p:spPr>
          <a:xfrm>
            <a:off x="3871373" y="1188836"/>
            <a:ext cx="475488" cy="320040"/>
          </a:xfrm>
          <a:prstGeom prst="rect">
            <a:avLst/>
          </a:prstGeom>
        </p:spPr>
      </p:pic>
      <p:pic>
        <p:nvPicPr>
          <p:cNvPr id="51" name="Picture 50">
            <a:extLst>
              <a:ext uri="{FF2B5EF4-FFF2-40B4-BE49-F238E27FC236}">
                <a16:creationId xmlns:a16="http://schemas.microsoft.com/office/drawing/2014/main" id="{BD6CA77B-9394-B653-5BDB-75BE915CB932}"/>
              </a:ext>
            </a:extLst>
          </p:cNvPr>
          <p:cNvPicPr>
            <a:picLocks/>
          </p:cNvPicPr>
          <p:nvPr/>
        </p:nvPicPr>
        <p:blipFill>
          <a:blip r:embed="rId26"/>
          <a:stretch>
            <a:fillRect/>
          </a:stretch>
        </p:blipFill>
        <p:spPr>
          <a:xfrm>
            <a:off x="4477840" y="1188836"/>
            <a:ext cx="475488" cy="320040"/>
          </a:xfrm>
          <a:prstGeom prst="rect">
            <a:avLst/>
          </a:prstGeom>
        </p:spPr>
      </p:pic>
      <p:pic>
        <p:nvPicPr>
          <p:cNvPr id="53" name="Picture 52">
            <a:extLst>
              <a:ext uri="{FF2B5EF4-FFF2-40B4-BE49-F238E27FC236}">
                <a16:creationId xmlns:a16="http://schemas.microsoft.com/office/drawing/2014/main" id="{6FAC460B-7700-7510-7370-9102622CA8CC}"/>
              </a:ext>
            </a:extLst>
          </p:cNvPr>
          <p:cNvPicPr>
            <a:picLocks/>
          </p:cNvPicPr>
          <p:nvPr/>
        </p:nvPicPr>
        <p:blipFill>
          <a:blip r:embed="rId27"/>
          <a:stretch>
            <a:fillRect/>
          </a:stretch>
        </p:blipFill>
        <p:spPr>
          <a:xfrm>
            <a:off x="5084307" y="1188836"/>
            <a:ext cx="475488" cy="320040"/>
          </a:xfrm>
          <a:prstGeom prst="rect">
            <a:avLst/>
          </a:prstGeom>
        </p:spPr>
      </p:pic>
      <p:pic>
        <p:nvPicPr>
          <p:cNvPr id="55" name="Picture 54">
            <a:extLst>
              <a:ext uri="{FF2B5EF4-FFF2-40B4-BE49-F238E27FC236}">
                <a16:creationId xmlns:a16="http://schemas.microsoft.com/office/drawing/2014/main" id="{3D0BAF0E-DDC2-F2B2-06A9-56B561B6B025}"/>
              </a:ext>
            </a:extLst>
          </p:cNvPr>
          <p:cNvPicPr>
            <a:picLocks/>
          </p:cNvPicPr>
          <p:nvPr/>
        </p:nvPicPr>
        <p:blipFill>
          <a:blip r:embed="rId28"/>
          <a:stretch>
            <a:fillRect/>
          </a:stretch>
        </p:blipFill>
        <p:spPr>
          <a:xfrm>
            <a:off x="5690774" y="1188836"/>
            <a:ext cx="475488" cy="320040"/>
          </a:xfrm>
          <a:prstGeom prst="rect">
            <a:avLst/>
          </a:prstGeom>
        </p:spPr>
      </p:pic>
      <p:pic>
        <p:nvPicPr>
          <p:cNvPr id="57" name="Picture 56">
            <a:extLst>
              <a:ext uri="{FF2B5EF4-FFF2-40B4-BE49-F238E27FC236}">
                <a16:creationId xmlns:a16="http://schemas.microsoft.com/office/drawing/2014/main" id="{3E11ABC1-7B74-3B60-422A-4BD58BAB49D4}"/>
              </a:ext>
            </a:extLst>
          </p:cNvPr>
          <p:cNvPicPr>
            <a:picLocks/>
          </p:cNvPicPr>
          <p:nvPr/>
        </p:nvPicPr>
        <p:blipFill>
          <a:blip r:embed="rId29"/>
          <a:stretch>
            <a:fillRect/>
          </a:stretch>
        </p:blipFill>
        <p:spPr>
          <a:xfrm>
            <a:off x="6297241" y="1188836"/>
            <a:ext cx="475488" cy="320040"/>
          </a:xfrm>
          <a:prstGeom prst="rect">
            <a:avLst/>
          </a:prstGeom>
        </p:spPr>
      </p:pic>
      <p:pic>
        <p:nvPicPr>
          <p:cNvPr id="59" name="Picture 58">
            <a:extLst>
              <a:ext uri="{FF2B5EF4-FFF2-40B4-BE49-F238E27FC236}">
                <a16:creationId xmlns:a16="http://schemas.microsoft.com/office/drawing/2014/main" id="{1449B845-0A0A-4518-6436-51F2826E6E45}"/>
              </a:ext>
            </a:extLst>
          </p:cNvPr>
          <p:cNvPicPr>
            <a:picLocks/>
          </p:cNvPicPr>
          <p:nvPr/>
        </p:nvPicPr>
        <p:blipFill>
          <a:blip r:embed="rId30"/>
          <a:stretch>
            <a:fillRect/>
          </a:stretch>
        </p:blipFill>
        <p:spPr>
          <a:xfrm>
            <a:off x="6903708" y="1188836"/>
            <a:ext cx="475488" cy="320040"/>
          </a:xfrm>
          <a:prstGeom prst="rect">
            <a:avLst/>
          </a:prstGeom>
        </p:spPr>
      </p:pic>
      <p:pic>
        <p:nvPicPr>
          <p:cNvPr id="61" name="Picture 60">
            <a:extLst>
              <a:ext uri="{FF2B5EF4-FFF2-40B4-BE49-F238E27FC236}">
                <a16:creationId xmlns:a16="http://schemas.microsoft.com/office/drawing/2014/main" id="{F30C1BB4-F216-3E1B-5313-80F1A61DC544}"/>
              </a:ext>
            </a:extLst>
          </p:cNvPr>
          <p:cNvPicPr>
            <a:picLocks/>
          </p:cNvPicPr>
          <p:nvPr/>
        </p:nvPicPr>
        <p:blipFill>
          <a:blip r:embed="rId31"/>
          <a:stretch>
            <a:fillRect/>
          </a:stretch>
        </p:blipFill>
        <p:spPr>
          <a:xfrm>
            <a:off x="7510175" y="1188836"/>
            <a:ext cx="475488" cy="320040"/>
          </a:xfrm>
          <a:prstGeom prst="rect">
            <a:avLst/>
          </a:prstGeom>
        </p:spPr>
      </p:pic>
      <p:pic>
        <p:nvPicPr>
          <p:cNvPr id="65" name="Picture 64">
            <a:extLst>
              <a:ext uri="{FF2B5EF4-FFF2-40B4-BE49-F238E27FC236}">
                <a16:creationId xmlns:a16="http://schemas.microsoft.com/office/drawing/2014/main" id="{F4474FF5-17B5-E28D-BD7F-C86413D14651}"/>
              </a:ext>
            </a:extLst>
          </p:cNvPr>
          <p:cNvPicPr>
            <a:picLocks/>
          </p:cNvPicPr>
          <p:nvPr/>
        </p:nvPicPr>
        <p:blipFill>
          <a:blip r:embed="rId32"/>
          <a:stretch>
            <a:fillRect/>
          </a:stretch>
        </p:blipFill>
        <p:spPr>
          <a:xfrm>
            <a:off x="8116642" y="1188836"/>
            <a:ext cx="475488" cy="320040"/>
          </a:xfrm>
          <a:prstGeom prst="rect">
            <a:avLst/>
          </a:prstGeom>
        </p:spPr>
      </p:pic>
      <p:pic>
        <p:nvPicPr>
          <p:cNvPr id="67" name="Picture 66">
            <a:extLst>
              <a:ext uri="{FF2B5EF4-FFF2-40B4-BE49-F238E27FC236}">
                <a16:creationId xmlns:a16="http://schemas.microsoft.com/office/drawing/2014/main" id="{62B9E3FF-73EF-F2F3-DA39-2400AEAC1A5E}"/>
              </a:ext>
            </a:extLst>
          </p:cNvPr>
          <p:cNvPicPr>
            <a:picLocks/>
          </p:cNvPicPr>
          <p:nvPr/>
        </p:nvPicPr>
        <p:blipFill>
          <a:blip r:embed="rId33"/>
          <a:stretch>
            <a:fillRect/>
          </a:stretch>
        </p:blipFill>
        <p:spPr>
          <a:xfrm>
            <a:off x="9329580" y="2636036"/>
            <a:ext cx="475488" cy="320040"/>
          </a:xfrm>
          <a:prstGeom prst="rect">
            <a:avLst/>
          </a:prstGeom>
        </p:spPr>
      </p:pic>
      <p:pic>
        <p:nvPicPr>
          <p:cNvPr id="69" name="Picture 68">
            <a:extLst>
              <a:ext uri="{FF2B5EF4-FFF2-40B4-BE49-F238E27FC236}">
                <a16:creationId xmlns:a16="http://schemas.microsoft.com/office/drawing/2014/main" id="{44D39F77-6120-F33B-B3F5-42C020B16F45}"/>
              </a:ext>
            </a:extLst>
          </p:cNvPr>
          <p:cNvPicPr>
            <a:picLocks/>
          </p:cNvPicPr>
          <p:nvPr/>
        </p:nvPicPr>
        <p:blipFill>
          <a:blip r:embed="rId34"/>
          <a:stretch>
            <a:fillRect/>
          </a:stretch>
        </p:blipFill>
        <p:spPr>
          <a:xfrm>
            <a:off x="9329580" y="1172643"/>
            <a:ext cx="475488" cy="320040"/>
          </a:xfrm>
          <a:prstGeom prst="rect">
            <a:avLst/>
          </a:prstGeom>
        </p:spPr>
      </p:pic>
      <p:pic>
        <p:nvPicPr>
          <p:cNvPr id="71" name="Picture 70">
            <a:extLst>
              <a:ext uri="{FF2B5EF4-FFF2-40B4-BE49-F238E27FC236}">
                <a16:creationId xmlns:a16="http://schemas.microsoft.com/office/drawing/2014/main" id="{2D3E6C30-9DEE-1A03-055C-373179BDE8F3}"/>
              </a:ext>
            </a:extLst>
          </p:cNvPr>
          <p:cNvPicPr>
            <a:picLocks/>
          </p:cNvPicPr>
          <p:nvPr/>
        </p:nvPicPr>
        <p:blipFill>
          <a:blip r:embed="rId35"/>
          <a:stretch>
            <a:fillRect/>
          </a:stretch>
        </p:blipFill>
        <p:spPr>
          <a:xfrm>
            <a:off x="9329580" y="1912436"/>
            <a:ext cx="475488" cy="320040"/>
          </a:xfrm>
          <a:prstGeom prst="rect">
            <a:avLst/>
          </a:prstGeom>
        </p:spPr>
      </p:pic>
      <p:pic>
        <p:nvPicPr>
          <p:cNvPr id="73" name="Picture 72">
            <a:extLst>
              <a:ext uri="{FF2B5EF4-FFF2-40B4-BE49-F238E27FC236}">
                <a16:creationId xmlns:a16="http://schemas.microsoft.com/office/drawing/2014/main" id="{C31F5226-B944-CF14-11BD-65C29EE1A5A6}"/>
              </a:ext>
            </a:extLst>
          </p:cNvPr>
          <p:cNvPicPr>
            <a:picLocks/>
          </p:cNvPicPr>
          <p:nvPr/>
        </p:nvPicPr>
        <p:blipFill>
          <a:blip r:embed="rId36"/>
          <a:stretch>
            <a:fillRect/>
          </a:stretch>
        </p:blipFill>
        <p:spPr>
          <a:xfrm>
            <a:off x="8116642" y="1912436"/>
            <a:ext cx="475488" cy="320040"/>
          </a:xfrm>
          <a:prstGeom prst="rect">
            <a:avLst/>
          </a:prstGeom>
        </p:spPr>
      </p:pic>
      <p:pic>
        <p:nvPicPr>
          <p:cNvPr id="75" name="Picture 74">
            <a:extLst>
              <a:ext uri="{FF2B5EF4-FFF2-40B4-BE49-F238E27FC236}">
                <a16:creationId xmlns:a16="http://schemas.microsoft.com/office/drawing/2014/main" id="{ED377E58-3CB3-902E-9103-262FC6EECA58}"/>
              </a:ext>
            </a:extLst>
          </p:cNvPr>
          <p:cNvPicPr>
            <a:picLocks/>
          </p:cNvPicPr>
          <p:nvPr/>
        </p:nvPicPr>
        <p:blipFill>
          <a:blip r:embed="rId37"/>
          <a:stretch>
            <a:fillRect/>
          </a:stretch>
        </p:blipFill>
        <p:spPr>
          <a:xfrm>
            <a:off x="8723109" y="1912436"/>
            <a:ext cx="475488" cy="320040"/>
          </a:xfrm>
          <a:prstGeom prst="rect">
            <a:avLst/>
          </a:prstGeom>
        </p:spPr>
      </p:pic>
      <p:pic>
        <p:nvPicPr>
          <p:cNvPr id="77" name="Picture 76">
            <a:extLst>
              <a:ext uri="{FF2B5EF4-FFF2-40B4-BE49-F238E27FC236}">
                <a16:creationId xmlns:a16="http://schemas.microsoft.com/office/drawing/2014/main" id="{5EE918EB-6896-F746-C505-D3C360F12E2D}"/>
              </a:ext>
            </a:extLst>
          </p:cNvPr>
          <p:cNvPicPr>
            <a:picLocks/>
          </p:cNvPicPr>
          <p:nvPr/>
        </p:nvPicPr>
        <p:blipFill>
          <a:blip r:embed="rId38"/>
          <a:stretch>
            <a:fillRect/>
          </a:stretch>
        </p:blipFill>
        <p:spPr>
          <a:xfrm>
            <a:off x="6903708" y="1912436"/>
            <a:ext cx="475488" cy="320040"/>
          </a:xfrm>
          <a:prstGeom prst="rect">
            <a:avLst/>
          </a:prstGeom>
        </p:spPr>
      </p:pic>
      <p:pic>
        <p:nvPicPr>
          <p:cNvPr id="79" name="Picture 78">
            <a:extLst>
              <a:ext uri="{FF2B5EF4-FFF2-40B4-BE49-F238E27FC236}">
                <a16:creationId xmlns:a16="http://schemas.microsoft.com/office/drawing/2014/main" id="{EB03DCCD-D59E-68EF-2B6C-7D434F29AB4F}"/>
              </a:ext>
            </a:extLst>
          </p:cNvPr>
          <p:cNvPicPr>
            <a:picLocks/>
          </p:cNvPicPr>
          <p:nvPr/>
        </p:nvPicPr>
        <p:blipFill>
          <a:blip r:embed="rId39"/>
          <a:stretch>
            <a:fillRect/>
          </a:stretch>
        </p:blipFill>
        <p:spPr>
          <a:xfrm>
            <a:off x="7510175" y="1912436"/>
            <a:ext cx="475488" cy="320040"/>
          </a:xfrm>
          <a:prstGeom prst="rect">
            <a:avLst/>
          </a:prstGeom>
        </p:spPr>
      </p:pic>
      <p:pic>
        <p:nvPicPr>
          <p:cNvPr id="81" name="Picture 80">
            <a:extLst>
              <a:ext uri="{FF2B5EF4-FFF2-40B4-BE49-F238E27FC236}">
                <a16:creationId xmlns:a16="http://schemas.microsoft.com/office/drawing/2014/main" id="{7D203F08-6BEA-BCC2-4A33-253320483442}"/>
              </a:ext>
            </a:extLst>
          </p:cNvPr>
          <p:cNvPicPr>
            <a:picLocks/>
          </p:cNvPicPr>
          <p:nvPr/>
        </p:nvPicPr>
        <p:blipFill>
          <a:blip r:embed="rId40"/>
          <a:stretch>
            <a:fillRect/>
          </a:stretch>
        </p:blipFill>
        <p:spPr>
          <a:xfrm>
            <a:off x="8723109" y="2636036"/>
            <a:ext cx="475488" cy="320040"/>
          </a:xfrm>
          <a:prstGeom prst="rect">
            <a:avLst/>
          </a:prstGeom>
        </p:spPr>
      </p:pic>
      <p:pic>
        <p:nvPicPr>
          <p:cNvPr id="85" name="Picture 84">
            <a:extLst>
              <a:ext uri="{FF2B5EF4-FFF2-40B4-BE49-F238E27FC236}">
                <a16:creationId xmlns:a16="http://schemas.microsoft.com/office/drawing/2014/main" id="{9761409D-30F9-1FCD-35F4-982032465A3D}"/>
              </a:ext>
            </a:extLst>
          </p:cNvPr>
          <p:cNvPicPr>
            <a:picLocks/>
          </p:cNvPicPr>
          <p:nvPr/>
        </p:nvPicPr>
        <p:blipFill>
          <a:blip r:embed="rId41"/>
          <a:stretch>
            <a:fillRect/>
          </a:stretch>
        </p:blipFill>
        <p:spPr>
          <a:xfrm>
            <a:off x="8116642" y="2636036"/>
            <a:ext cx="475488" cy="320040"/>
          </a:xfrm>
          <a:prstGeom prst="rect">
            <a:avLst/>
          </a:prstGeom>
        </p:spPr>
      </p:pic>
      <p:pic>
        <p:nvPicPr>
          <p:cNvPr id="87" name="Picture 86">
            <a:extLst>
              <a:ext uri="{FF2B5EF4-FFF2-40B4-BE49-F238E27FC236}">
                <a16:creationId xmlns:a16="http://schemas.microsoft.com/office/drawing/2014/main" id="{A02A2B5D-017C-8341-9A93-8EE576DCFAF8}"/>
              </a:ext>
            </a:extLst>
          </p:cNvPr>
          <p:cNvPicPr>
            <a:picLocks/>
          </p:cNvPicPr>
          <p:nvPr/>
        </p:nvPicPr>
        <p:blipFill>
          <a:blip r:embed="rId42"/>
          <a:stretch>
            <a:fillRect/>
          </a:stretch>
        </p:blipFill>
        <p:spPr>
          <a:xfrm>
            <a:off x="6297241" y="1912436"/>
            <a:ext cx="475488" cy="320040"/>
          </a:xfrm>
          <a:prstGeom prst="rect">
            <a:avLst/>
          </a:prstGeom>
        </p:spPr>
      </p:pic>
      <p:pic>
        <p:nvPicPr>
          <p:cNvPr id="89" name="Picture 88">
            <a:extLst>
              <a:ext uri="{FF2B5EF4-FFF2-40B4-BE49-F238E27FC236}">
                <a16:creationId xmlns:a16="http://schemas.microsoft.com/office/drawing/2014/main" id="{80E5A7C6-6332-FCEA-B6F1-8C53BABEBBFC}"/>
              </a:ext>
            </a:extLst>
          </p:cNvPr>
          <p:cNvPicPr>
            <a:picLocks/>
          </p:cNvPicPr>
          <p:nvPr/>
        </p:nvPicPr>
        <p:blipFill>
          <a:blip r:embed="rId43"/>
          <a:stretch>
            <a:fillRect/>
          </a:stretch>
        </p:blipFill>
        <p:spPr>
          <a:xfrm>
            <a:off x="5690774" y="2636036"/>
            <a:ext cx="475488" cy="320040"/>
          </a:xfrm>
          <a:prstGeom prst="rect">
            <a:avLst/>
          </a:prstGeom>
        </p:spPr>
      </p:pic>
      <p:pic>
        <p:nvPicPr>
          <p:cNvPr id="91" name="Picture 90">
            <a:extLst>
              <a:ext uri="{FF2B5EF4-FFF2-40B4-BE49-F238E27FC236}">
                <a16:creationId xmlns:a16="http://schemas.microsoft.com/office/drawing/2014/main" id="{EB9A3A0E-ECBD-BB65-3BD6-FC8D001C3FE7}"/>
              </a:ext>
            </a:extLst>
          </p:cNvPr>
          <p:cNvPicPr>
            <a:picLocks/>
          </p:cNvPicPr>
          <p:nvPr/>
        </p:nvPicPr>
        <p:blipFill>
          <a:blip r:embed="rId44"/>
          <a:stretch>
            <a:fillRect/>
          </a:stretch>
        </p:blipFill>
        <p:spPr>
          <a:xfrm>
            <a:off x="6297241" y="2636036"/>
            <a:ext cx="475488" cy="320040"/>
          </a:xfrm>
          <a:prstGeom prst="rect">
            <a:avLst/>
          </a:prstGeom>
        </p:spPr>
      </p:pic>
      <p:pic>
        <p:nvPicPr>
          <p:cNvPr id="93" name="Picture 92">
            <a:extLst>
              <a:ext uri="{FF2B5EF4-FFF2-40B4-BE49-F238E27FC236}">
                <a16:creationId xmlns:a16="http://schemas.microsoft.com/office/drawing/2014/main" id="{E196606A-AE97-94BF-0E4A-2181B34C712E}"/>
              </a:ext>
            </a:extLst>
          </p:cNvPr>
          <p:cNvPicPr>
            <a:picLocks/>
          </p:cNvPicPr>
          <p:nvPr/>
        </p:nvPicPr>
        <p:blipFill>
          <a:blip r:embed="rId45"/>
          <a:stretch>
            <a:fillRect/>
          </a:stretch>
        </p:blipFill>
        <p:spPr>
          <a:xfrm>
            <a:off x="232571" y="3300313"/>
            <a:ext cx="475488" cy="320040"/>
          </a:xfrm>
          <a:prstGeom prst="rect">
            <a:avLst/>
          </a:prstGeom>
        </p:spPr>
      </p:pic>
      <p:pic>
        <p:nvPicPr>
          <p:cNvPr id="95" name="Picture 94">
            <a:extLst>
              <a:ext uri="{FF2B5EF4-FFF2-40B4-BE49-F238E27FC236}">
                <a16:creationId xmlns:a16="http://schemas.microsoft.com/office/drawing/2014/main" id="{E706F4FE-B0E2-07C3-3ED0-99015581EC2B}"/>
              </a:ext>
            </a:extLst>
          </p:cNvPr>
          <p:cNvPicPr>
            <a:picLocks/>
          </p:cNvPicPr>
          <p:nvPr/>
        </p:nvPicPr>
        <p:blipFill>
          <a:blip r:embed="rId46"/>
          <a:stretch>
            <a:fillRect/>
          </a:stretch>
        </p:blipFill>
        <p:spPr>
          <a:xfrm>
            <a:off x="2051972" y="2636036"/>
            <a:ext cx="475488" cy="320040"/>
          </a:xfrm>
          <a:prstGeom prst="rect">
            <a:avLst/>
          </a:prstGeom>
        </p:spPr>
      </p:pic>
      <p:pic>
        <p:nvPicPr>
          <p:cNvPr id="97" name="Picture 96">
            <a:extLst>
              <a:ext uri="{FF2B5EF4-FFF2-40B4-BE49-F238E27FC236}">
                <a16:creationId xmlns:a16="http://schemas.microsoft.com/office/drawing/2014/main" id="{30BB0BBC-CC4F-BA50-0E32-67003B60EB76}"/>
              </a:ext>
            </a:extLst>
          </p:cNvPr>
          <p:cNvPicPr>
            <a:picLocks/>
          </p:cNvPicPr>
          <p:nvPr/>
        </p:nvPicPr>
        <p:blipFill>
          <a:blip r:embed="rId47"/>
          <a:stretch>
            <a:fillRect/>
          </a:stretch>
        </p:blipFill>
        <p:spPr>
          <a:xfrm>
            <a:off x="839695" y="3300313"/>
            <a:ext cx="475488" cy="320040"/>
          </a:xfrm>
          <a:prstGeom prst="rect">
            <a:avLst/>
          </a:prstGeom>
        </p:spPr>
      </p:pic>
      <p:pic>
        <p:nvPicPr>
          <p:cNvPr id="99" name="Picture 98">
            <a:extLst>
              <a:ext uri="{FF2B5EF4-FFF2-40B4-BE49-F238E27FC236}">
                <a16:creationId xmlns:a16="http://schemas.microsoft.com/office/drawing/2014/main" id="{6CB1F25F-A3FE-BE95-5038-6A13C0AE99BA}"/>
              </a:ext>
            </a:extLst>
          </p:cNvPr>
          <p:cNvPicPr>
            <a:picLocks/>
          </p:cNvPicPr>
          <p:nvPr/>
        </p:nvPicPr>
        <p:blipFill>
          <a:blip r:embed="rId48"/>
          <a:stretch>
            <a:fillRect/>
          </a:stretch>
        </p:blipFill>
        <p:spPr>
          <a:xfrm>
            <a:off x="1445505" y="2636036"/>
            <a:ext cx="475488" cy="320040"/>
          </a:xfrm>
          <a:prstGeom prst="rect">
            <a:avLst/>
          </a:prstGeom>
        </p:spPr>
      </p:pic>
      <p:pic>
        <p:nvPicPr>
          <p:cNvPr id="101" name="Picture 100">
            <a:extLst>
              <a:ext uri="{FF2B5EF4-FFF2-40B4-BE49-F238E27FC236}">
                <a16:creationId xmlns:a16="http://schemas.microsoft.com/office/drawing/2014/main" id="{DDF13FF9-DB0E-92AC-926C-78C0C94F9273}"/>
              </a:ext>
            </a:extLst>
          </p:cNvPr>
          <p:cNvPicPr>
            <a:picLocks/>
          </p:cNvPicPr>
          <p:nvPr/>
        </p:nvPicPr>
        <p:blipFill>
          <a:blip r:embed="rId49"/>
          <a:stretch>
            <a:fillRect/>
          </a:stretch>
        </p:blipFill>
        <p:spPr>
          <a:xfrm>
            <a:off x="839038" y="2636036"/>
            <a:ext cx="475488" cy="320040"/>
          </a:xfrm>
          <a:prstGeom prst="rect">
            <a:avLst/>
          </a:prstGeom>
        </p:spPr>
      </p:pic>
      <p:pic>
        <p:nvPicPr>
          <p:cNvPr id="103" name="Picture 102">
            <a:extLst>
              <a:ext uri="{FF2B5EF4-FFF2-40B4-BE49-F238E27FC236}">
                <a16:creationId xmlns:a16="http://schemas.microsoft.com/office/drawing/2014/main" id="{AEEEA8D5-5BEF-06DA-C6EA-0997F713CF06}"/>
              </a:ext>
            </a:extLst>
          </p:cNvPr>
          <p:cNvPicPr>
            <a:picLocks/>
          </p:cNvPicPr>
          <p:nvPr/>
        </p:nvPicPr>
        <p:blipFill>
          <a:blip r:embed="rId50"/>
          <a:stretch>
            <a:fillRect/>
          </a:stretch>
        </p:blipFill>
        <p:spPr>
          <a:xfrm>
            <a:off x="2053943" y="3300313"/>
            <a:ext cx="475488" cy="320040"/>
          </a:xfrm>
          <a:prstGeom prst="rect">
            <a:avLst/>
          </a:prstGeom>
        </p:spPr>
      </p:pic>
      <p:pic>
        <p:nvPicPr>
          <p:cNvPr id="105" name="Picture 104">
            <a:extLst>
              <a:ext uri="{FF2B5EF4-FFF2-40B4-BE49-F238E27FC236}">
                <a16:creationId xmlns:a16="http://schemas.microsoft.com/office/drawing/2014/main" id="{DE8351DF-8737-33C8-EFF3-0FAC7D0EFA02}"/>
              </a:ext>
            </a:extLst>
          </p:cNvPr>
          <p:cNvPicPr>
            <a:picLocks/>
          </p:cNvPicPr>
          <p:nvPr/>
        </p:nvPicPr>
        <p:blipFill>
          <a:blip r:embed="rId51"/>
          <a:stretch>
            <a:fillRect/>
          </a:stretch>
        </p:blipFill>
        <p:spPr>
          <a:xfrm>
            <a:off x="1446819" y="3300313"/>
            <a:ext cx="475488" cy="320040"/>
          </a:xfrm>
          <a:prstGeom prst="rect">
            <a:avLst/>
          </a:prstGeom>
        </p:spPr>
      </p:pic>
      <p:pic>
        <p:nvPicPr>
          <p:cNvPr id="107" name="Picture 106">
            <a:extLst>
              <a:ext uri="{FF2B5EF4-FFF2-40B4-BE49-F238E27FC236}">
                <a16:creationId xmlns:a16="http://schemas.microsoft.com/office/drawing/2014/main" id="{4B73F6A1-575F-0408-CFE1-10ADEABEB0F4}"/>
              </a:ext>
            </a:extLst>
          </p:cNvPr>
          <p:cNvPicPr>
            <a:picLocks/>
          </p:cNvPicPr>
          <p:nvPr/>
        </p:nvPicPr>
        <p:blipFill>
          <a:blip r:embed="rId52"/>
          <a:stretch>
            <a:fillRect/>
          </a:stretch>
        </p:blipFill>
        <p:spPr>
          <a:xfrm>
            <a:off x="7510175" y="2636036"/>
            <a:ext cx="475488" cy="320040"/>
          </a:xfrm>
          <a:prstGeom prst="rect">
            <a:avLst/>
          </a:prstGeom>
        </p:spPr>
      </p:pic>
      <p:pic>
        <p:nvPicPr>
          <p:cNvPr id="109" name="Picture 108">
            <a:extLst>
              <a:ext uri="{FF2B5EF4-FFF2-40B4-BE49-F238E27FC236}">
                <a16:creationId xmlns:a16="http://schemas.microsoft.com/office/drawing/2014/main" id="{67877104-920D-7F38-1D0D-E6AE70DE8665}"/>
              </a:ext>
            </a:extLst>
          </p:cNvPr>
          <p:cNvPicPr>
            <a:picLocks noChangeAspect="1"/>
          </p:cNvPicPr>
          <p:nvPr/>
        </p:nvPicPr>
        <p:blipFill>
          <a:blip r:embed="rId53"/>
          <a:stretch>
            <a:fillRect/>
          </a:stretch>
        </p:blipFill>
        <p:spPr>
          <a:xfrm>
            <a:off x="8723109" y="1175485"/>
            <a:ext cx="475488" cy="317054"/>
          </a:xfrm>
          <a:prstGeom prst="rect">
            <a:avLst/>
          </a:prstGeom>
        </p:spPr>
      </p:pic>
      <p:pic>
        <p:nvPicPr>
          <p:cNvPr id="111" name="Picture 110">
            <a:extLst>
              <a:ext uri="{FF2B5EF4-FFF2-40B4-BE49-F238E27FC236}">
                <a16:creationId xmlns:a16="http://schemas.microsoft.com/office/drawing/2014/main" id="{4A35C8D8-A5BE-3240-34D8-004459FC783A}"/>
              </a:ext>
            </a:extLst>
          </p:cNvPr>
          <p:cNvPicPr>
            <a:picLocks noChangeAspect="1"/>
          </p:cNvPicPr>
          <p:nvPr/>
        </p:nvPicPr>
        <p:blipFill>
          <a:blip r:embed="rId54"/>
          <a:stretch>
            <a:fillRect/>
          </a:stretch>
        </p:blipFill>
        <p:spPr>
          <a:xfrm>
            <a:off x="6903708" y="2637529"/>
            <a:ext cx="475488" cy="317054"/>
          </a:xfrm>
          <a:prstGeom prst="rect">
            <a:avLst/>
          </a:prstGeom>
        </p:spPr>
      </p:pic>
      <p:pic>
        <p:nvPicPr>
          <p:cNvPr id="108" name="Picture 107">
            <a:extLst>
              <a:ext uri="{FF2B5EF4-FFF2-40B4-BE49-F238E27FC236}">
                <a16:creationId xmlns:a16="http://schemas.microsoft.com/office/drawing/2014/main" id="{644D6D56-99A2-8914-7DFB-B493AA987D36}"/>
              </a:ext>
            </a:extLst>
          </p:cNvPr>
          <p:cNvPicPr>
            <a:picLocks/>
          </p:cNvPicPr>
          <p:nvPr/>
        </p:nvPicPr>
        <p:blipFill>
          <a:blip r:embed="rId55"/>
          <a:stretch>
            <a:fillRect/>
          </a:stretch>
        </p:blipFill>
        <p:spPr>
          <a:xfrm>
            <a:off x="9339435" y="3300313"/>
            <a:ext cx="475488" cy="320040"/>
          </a:xfrm>
          <a:prstGeom prst="rect">
            <a:avLst/>
          </a:prstGeom>
        </p:spPr>
      </p:pic>
      <p:pic>
        <p:nvPicPr>
          <p:cNvPr id="112" name="Picture 111">
            <a:extLst>
              <a:ext uri="{FF2B5EF4-FFF2-40B4-BE49-F238E27FC236}">
                <a16:creationId xmlns:a16="http://schemas.microsoft.com/office/drawing/2014/main" id="{67E1487E-3547-27D4-06D7-DA5915F4108E}"/>
              </a:ext>
            </a:extLst>
          </p:cNvPr>
          <p:cNvPicPr>
            <a:picLocks/>
          </p:cNvPicPr>
          <p:nvPr/>
        </p:nvPicPr>
        <p:blipFill>
          <a:blip r:embed="rId56"/>
          <a:stretch>
            <a:fillRect/>
          </a:stretch>
        </p:blipFill>
        <p:spPr>
          <a:xfrm>
            <a:off x="6303811" y="3300313"/>
            <a:ext cx="475488" cy="320040"/>
          </a:xfrm>
          <a:prstGeom prst="rect">
            <a:avLst/>
          </a:prstGeom>
        </p:spPr>
      </p:pic>
      <p:pic>
        <p:nvPicPr>
          <p:cNvPr id="114" name="Picture 113">
            <a:extLst>
              <a:ext uri="{FF2B5EF4-FFF2-40B4-BE49-F238E27FC236}">
                <a16:creationId xmlns:a16="http://schemas.microsoft.com/office/drawing/2014/main" id="{8E20A9A3-CE7D-5197-4E9A-BEBF8EFC9E05}"/>
              </a:ext>
            </a:extLst>
          </p:cNvPr>
          <p:cNvPicPr>
            <a:picLocks/>
          </p:cNvPicPr>
          <p:nvPr/>
        </p:nvPicPr>
        <p:blipFill>
          <a:blip r:embed="rId57"/>
          <a:stretch>
            <a:fillRect/>
          </a:stretch>
        </p:blipFill>
        <p:spPr>
          <a:xfrm>
            <a:off x="1447577" y="3990233"/>
            <a:ext cx="475488" cy="320040"/>
          </a:xfrm>
          <a:prstGeom prst="rect">
            <a:avLst/>
          </a:prstGeom>
        </p:spPr>
      </p:pic>
      <p:pic>
        <p:nvPicPr>
          <p:cNvPr id="116" name="Picture 115">
            <a:extLst>
              <a:ext uri="{FF2B5EF4-FFF2-40B4-BE49-F238E27FC236}">
                <a16:creationId xmlns:a16="http://schemas.microsoft.com/office/drawing/2014/main" id="{7262E698-42B1-D884-9463-D6DB229554E9}"/>
              </a:ext>
            </a:extLst>
          </p:cNvPr>
          <p:cNvPicPr>
            <a:picLocks/>
          </p:cNvPicPr>
          <p:nvPr/>
        </p:nvPicPr>
        <p:blipFill>
          <a:blip r:embed="rId58"/>
          <a:stretch>
            <a:fillRect/>
          </a:stretch>
        </p:blipFill>
        <p:spPr>
          <a:xfrm>
            <a:off x="6910935" y="3300313"/>
            <a:ext cx="475488" cy="320040"/>
          </a:xfrm>
          <a:prstGeom prst="rect">
            <a:avLst/>
          </a:prstGeom>
        </p:spPr>
      </p:pic>
      <p:pic>
        <p:nvPicPr>
          <p:cNvPr id="118" name="Picture 117">
            <a:extLst>
              <a:ext uri="{FF2B5EF4-FFF2-40B4-BE49-F238E27FC236}">
                <a16:creationId xmlns:a16="http://schemas.microsoft.com/office/drawing/2014/main" id="{27EF0427-A4D1-DF58-B940-B4AE1F6682E3}"/>
              </a:ext>
            </a:extLst>
          </p:cNvPr>
          <p:cNvPicPr>
            <a:picLocks/>
          </p:cNvPicPr>
          <p:nvPr/>
        </p:nvPicPr>
        <p:blipFill>
          <a:blip r:embed="rId59"/>
          <a:stretch>
            <a:fillRect/>
          </a:stretch>
        </p:blipFill>
        <p:spPr>
          <a:xfrm>
            <a:off x="7522607" y="3990233"/>
            <a:ext cx="475488" cy="320040"/>
          </a:xfrm>
          <a:prstGeom prst="rect">
            <a:avLst/>
          </a:prstGeom>
        </p:spPr>
      </p:pic>
      <p:pic>
        <p:nvPicPr>
          <p:cNvPr id="120" name="Picture 119">
            <a:extLst>
              <a:ext uri="{FF2B5EF4-FFF2-40B4-BE49-F238E27FC236}">
                <a16:creationId xmlns:a16="http://schemas.microsoft.com/office/drawing/2014/main" id="{8E7F0AF3-944A-CB25-451C-AE021B6780F1}"/>
              </a:ext>
            </a:extLst>
          </p:cNvPr>
          <p:cNvPicPr>
            <a:picLocks/>
          </p:cNvPicPr>
          <p:nvPr/>
        </p:nvPicPr>
        <p:blipFill>
          <a:blip r:embed="rId60"/>
          <a:stretch>
            <a:fillRect/>
          </a:stretch>
        </p:blipFill>
        <p:spPr>
          <a:xfrm>
            <a:off x="232571" y="3990233"/>
            <a:ext cx="475488" cy="320040"/>
          </a:xfrm>
          <a:prstGeom prst="rect">
            <a:avLst/>
          </a:prstGeom>
        </p:spPr>
      </p:pic>
      <p:pic>
        <p:nvPicPr>
          <p:cNvPr id="122" name="Picture 121">
            <a:extLst>
              <a:ext uri="{FF2B5EF4-FFF2-40B4-BE49-F238E27FC236}">
                <a16:creationId xmlns:a16="http://schemas.microsoft.com/office/drawing/2014/main" id="{570C3D0D-A3E4-243B-3C38-F1B86597FFA7}"/>
              </a:ext>
            </a:extLst>
          </p:cNvPr>
          <p:cNvPicPr>
            <a:picLocks/>
          </p:cNvPicPr>
          <p:nvPr/>
        </p:nvPicPr>
        <p:blipFill>
          <a:blip r:embed="rId61"/>
          <a:stretch>
            <a:fillRect/>
          </a:stretch>
        </p:blipFill>
        <p:spPr>
          <a:xfrm>
            <a:off x="6915104" y="3990233"/>
            <a:ext cx="475488" cy="320040"/>
          </a:xfrm>
          <a:prstGeom prst="rect">
            <a:avLst/>
          </a:prstGeom>
        </p:spPr>
      </p:pic>
      <p:pic>
        <p:nvPicPr>
          <p:cNvPr id="124" name="Picture 123">
            <a:extLst>
              <a:ext uri="{FF2B5EF4-FFF2-40B4-BE49-F238E27FC236}">
                <a16:creationId xmlns:a16="http://schemas.microsoft.com/office/drawing/2014/main" id="{4DBFE2F5-C4B4-7270-ADF4-86BF73405F69}"/>
              </a:ext>
            </a:extLst>
          </p:cNvPr>
          <p:cNvPicPr>
            <a:picLocks/>
          </p:cNvPicPr>
          <p:nvPr/>
        </p:nvPicPr>
        <p:blipFill>
          <a:blip r:embed="rId62"/>
          <a:stretch>
            <a:fillRect/>
          </a:stretch>
        </p:blipFill>
        <p:spPr>
          <a:xfrm>
            <a:off x="4485092" y="3990233"/>
            <a:ext cx="475488" cy="320040"/>
          </a:xfrm>
          <a:prstGeom prst="rect">
            <a:avLst/>
          </a:prstGeom>
        </p:spPr>
      </p:pic>
      <p:pic>
        <p:nvPicPr>
          <p:cNvPr id="126" name="Picture 125">
            <a:extLst>
              <a:ext uri="{FF2B5EF4-FFF2-40B4-BE49-F238E27FC236}">
                <a16:creationId xmlns:a16="http://schemas.microsoft.com/office/drawing/2014/main" id="{B37DD757-E26B-D9E8-2D91-38B4AF97BF8C}"/>
              </a:ext>
            </a:extLst>
          </p:cNvPr>
          <p:cNvPicPr>
            <a:picLocks/>
          </p:cNvPicPr>
          <p:nvPr/>
        </p:nvPicPr>
        <p:blipFill>
          <a:blip r:embed="rId63"/>
          <a:stretch>
            <a:fillRect/>
          </a:stretch>
        </p:blipFill>
        <p:spPr>
          <a:xfrm>
            <a:off x="3268191" y="3300313"/>
            <a:ext cx="475488" cy="320040"/>
          </a:xfrm>
          <a:prstGeom prst="rect">
            <a:avLst/>
          </a:prstGeom>
        </p:spPr>
      </p:pic>
      <p:pic>
        <p:nvPicPr>
          <p:cNvPr id="128" name="Picture 127">
            <a:extLst>
              <a:ext uri="{FF2B5EF4-FFF2-40B4-BE49-F238E27FC236}">
                <a16:creationId xmlns:a16="http://schemas.microsoft.com/office/drawing/2014/main" id="{A4AB5AAF-CADE-F764-2045-94C8400703C0}"/>
              </a:ext>
            </a:extLst>
          </p:cNvPr>
          <p:cNvPicPr>
            <a:picLocks/>
          </p:cNvPicPr>
          <p:nvPr/>
        </p:nvPicPr>
        <p:blipFill>
          <a:blip r:embed="rId64"/>
          <a:stretch>
            <a:fillRect/>
          </a:stretch>
        </p:blipFill>
        <p:spPr>
          <a:xfrm>
            <a:off x="8125183" y="3300313"/>
            <a:ext cx="475488" cy="320040"/>
          </a:xfrm>
          <a:prstGeom prst="rect">
            <a:avLst/>
          </a:prstGeom>
        </p:spPr>
      </p:pic>
      <p:pic>
        <p:nvPicPr>
          <p:cNvPr id="130" name="Picture 129">
            <a:extLst>
              <a:ext uri="{FF2B5EF4-FFF2-40B4-BE49-F238E27FC236}">
                <a16:creationId xmlns:a16="http://schemas.microsoft.com/office/drawing/2014/main" id="{5D99969F-3CAD-232A-0103-6874370E1964}"/>
              </a:ext>
            </a:extLst>
          </p:cNvPr>
          <p:cNvPicPr>
            <a:picLocks/>
          </p:cNvPicPr>
          <p:nvPr/>
        </p:nvPicPr>
        <p:blipFill>
          <a:blip r:embed="rId65"/>
          <a:stretch>
            <a:fillRect/>
          </a:stretch>
        </p:blipFill>
        <p:spPr>
          <a:xfrm>
            <a:off x="5696687" y="3300313"/>
            <a:ext cx="475488" cy="320040"/>
          </a:xfrm>
          <a:prstGeom prst="rect">
            <a:avLst/>
          </a:prstGeom>
        </p:spPr>
      </p:pic>
      <p:pic>
        <p:nvPicPr>
          <p:cNvPr id="132" name="Picture 131">
            <a:extLst>
              <a:ext uri="{FF2B5EF4-FFF2-40B4-BE49-F238E27FC236}">
                <a16:creationId xmlns:a16="http://schemas.microsoft.com/office/drawing/2014/main" id="{9EDF7FFA-E97F-746B-12F1-98BC17E30CFA}"/>
              </a:ext>
            </a:extLst>
          </p:cNvPr>
          <p:cNvPicPr>
            <a:picLocks/>
          </p:cNvPicPr>
          <p:nvPr/>
        </p:nvPicPr>
        <p:blipFill>
          <a:blip r:embed="rId66"/>
          <a:stretch>
            <a:fillRect/>
          </a:stretch>
        </p:blipFill>
        <p:spPr>
          <a:xfrm>
            <a:off x="3875315" y="3300313"/>
            <a:ext cx="475488" cy="320040"/>
          </a:xfrm>
          <a:prstGeom prst="rect">
            <a:avLst/>
          </a:prstGeom>
        </p:spPr>
      </p:pic>
      <p:pic>
        <p:nvPicPr>
          <p:cNvPr id="134" name="Picture 133">
            <a:extLst>
              <a:ext uri="{FF2B5EF4-FFF2-40B4-BE49-F238E27FC236}">
                <a16:creationId xmlns:a16="http://schemas.microsoft.com/office/drawing/2014/main" id="{C91375F3-6BF6-DA85-72DC-C7B26D3E9AF2}"/>
              </a:ext>
            </a:extLst>
          </p:cNvPr>
          <p:cNvPicPr>
            <a:picLocks/>
          </p:cNvPicPr>
          <p:nvPr/>
        </p:nvPicPr>
        <p:blipFill>
          <a:blip r:embed="rId67"/>
          <a:stretch>
            <a:fillRect/>
          </a:stretch>
        </p:blipFill>
        <p:spPr>
          <a:xfrm>
            <a:off x="4482439" y="3300313"/>
            <a:ext cx="475488" cy="320040"/>
          </a:xfrm>
          <a:prstGeom prst="rect">
            <a:avLst/>
          </a:prstGeom>
        </p:spPr>
      </p:pic>
      <p:pic>
        <p:nvPicPr>
          <p:cNvPr id="136" name="Picture 135">
            <a:extLst>
              <a:ext uri="{FF2B5EF4-FFF2-40B4-BE49-F238E27FC236}">
                <a16:creationId xmlns:a16="http://schemas.microsoft.com/office/drawing/2014/main" id="{E5AC73AF-3955-706D-27CC-6CDED3820F14}"/>
              </a:ext>
            </a:extLst>
          </p:cNvPr>
          <p:cNvPicPr>
            <a:picLocks/>
          </p:cNvPicPr>
          <p:nvPr/>
        </p:nvPicPr>
        <p:blipFill>
          <a:blip r:embed="rId68"/>
          <a:stretch>
            <a:fillRect/>
          </a:stretch>
        </p:blipFill>
        <p:spPr>
          <a:xfrm>
            <a:off x="8732307" y="3300313"/>
            <a:ext cx="475488" cy="320040"/>
          </a:xfrm>
          <a:prstGeom prst="rect">
            <a:avLst/>
          </a:prstGeom>
        </p:spPr>
      </p:pic>
      <p:pic>
        <p:nvPicPr>
          <p:cNvPr id="138" name="Picture 137">
            <a:extLst>
              <a:ext uri="{FF2B5EF4-FFF2-40B4-BE49-F238E27FC236}">
                <a16:creationId xmlns:a16="http://schemas.microsoft.com/office/drawing/2014/main" id="{C3622EDF-ADBE-6F52-751E-77CC5EECA847}"/>
              </a:ext>
            </a:extLst>
          </p:cNvPr>
          <p:cNvPicPr>
            <a:picLocks/>
          </p:cNvPicPr>
          <p:nvPr/>
        </p:nvPicPr>
        <p:blipFill>
          <a:blip r:embed="rId69"/>
          <a:stretch>
            <a:fillRect/>
          </a:stretch>
        </p:blipFill>
        <p:spPr>
          <a:xfrm>
            <a:off x="2661067" y="3300313"/>
            <a:ext cx="475488" cy="320040"/>
          </a:xfrm>
          <a:prstGeom prst="rect">
            <a:avLst/>
          </a:prstGeom>
        </p:spPr>
      </p:pic>
      <p:pic>
        <p:nvPicPr>
          <p:cNvPr id="140" name="Picture 139">
            <a:extLst>
              <a:ext uri="{FF2B5EF4-FFF2-40B4-BE49-F238E27FC236}">
                <a16:creationId xmlns:a16="http://schemas.microsoft.com/office/drawing/2014/main" id="{6C7078FA-A1C3-814C-72AD-11490828EF0F}"/>
              </a:ext>
            </a:extLst>
          </p:cNvPr>
          <p:cNvPicPr>
            <a:picLocks/>
          </p:cNvPicPr>
          <p:nvPr/>
        </p:nvPicPr>
        <p:blipFill>
          <a:blip r:embed="rId70"/>
          <a:stretch>
            <a:fillRect/>
          </a:stretch>
        </p:blipFill>
        <p:spPr>
          <a:xfrm>
            <a:off x="840074" y="3990233"/>
            <a:ext cx="475488" cy="320040"/>
          </a:xfrm>
          <a:prstGeom prst="rect">
            <a:avLst/>
          </a:prstGeom>
        </p:spPr>
      </p:pic>
      <p:pic>
        <p:nvPicPr>
          <p:cNvPr id="142" name="Picture 141">
            <a:extLst>
              <a:ext uri="{FF2B5EF4-FFF2-40B4-BE49-F238E27FC236}">
                <a16:creationId xmlns:a16="http://schemas.microsoft.com/office/drawing/2014/main" id="{00CC49EB-9F76-E9DC-8C82-37944ECB2D7A}"/>
              </a:ext>
            </a:extLst>
          </p:cNvPr>
          <p:cNvPicPr>
            <a:picLocks/>
          </p:cNvPicPr>
          <p:nvPr/>
        </p:nvPicPr>
        <p:blipFill>
          <a:blip r:embed="rId71"/>
          <a:stretch>
            <a:fillRect/>
          </a:stretch>
        </p:blipFill>
        <p:spPr>
          <a:xfrm>
            <a:off x="7518059" y="3300313"/>
            <a:ext cx="475488" cy="320040"/>
          </a:xfrm>
          <a:prstGeom prst="rect">
            <a:avLst/>
          </a:prstGeom>
        </p:spPr>
      </p:pic>
      <p:pic>
        <p:nvPicPr>
          <p:cNvPr id="144" name="Picture 143">
            <a:extLst>
              <a:ext uri="{FF2B5EF4-FFF2-40B4-BE49-F238E27FC236}">
                <a16:creationId xmlns:a16="http://schemas.microsoft.com/office/drawing/2014/main" id="{4FB1800D-5185-D144-A64C-4E09395338C5}"/>
              </a:ext>
            </a:extLst>
          </p:cNvPr>
          <p:cNvPicPr>
            <a:picLocks/>
          </p:cNvPicPr>
          <p:nvPr/>
        </p:nvPicPr>
        <p:blipFill>
          <a:blip r:embed="rId72"/>
          <a:stretch>
            <a:fillRect/>
          </a:stretch>
        </p:blipFill>
        <p:spPr>
          <a:xfrm>
            <a:off x="5089563" y="3300313"/>
            <a:ext cx="475488" cy="320040"/>
          </a:xfrm>
          <a:prstGeom prst="rect">
            <a:avLst/>
          </a:prstGeom>
        </p:spPr>
      </p:pic>
      <p:pic>
        <p:nvPicPr>
          <p:cNvPr id="146" name="Picture 145">
            <a:extLst>
              <a:ext uri="{FF2B5EF4-FFF2-40B4-BE49-F238E27FC236}">
                <a16:creationId xmlns:a16="http://schemas.microsoft.com/office/drawing/2014/main" id="{195C9F5E-7870-F861-82F4-2231D82E1930}"/>
              </a:ext>
            </a:extLst>
          </p:cNvPr>
          <p:cNvPicPr>
            <a:picLocks/>
          </p:cNvPicPr>
          <p:nvPr/>
        </p:nvPicPr>
        <p:blipFill>
          <a:blip r:embed="rId73"/>
          <a:stretch>
            <a:fillRect/>
          </a:stretch>
        </p:blipFill>
        <p:spPr>
          <a:xfrm>
            <a:off x="2662583" y="3990233"/>
            <a:ext cx="475488" cy="320040"/>
          </a:xfrm>
          <a:prstGeom prst="rect">
            <a:avLst/>
          </a:prstGeom>
        </p:spPr>
      </p:pic>
      <p:pic>
        <p:nvPicPr>
          <p:cNvPr id="148" name="Picture 147">
            <a:extLst>
              <a:ext uri="{FF2B5EF4-FFF2-40B4-BE49-F238E27FC236}">
                <a16:creationId xmlns:a16="http://schemas.microsoft.com/office/drawing/2014/main" id="{A0098D9F-CE91-00AD-CBAE-76B3E65E2B75}"/>
              </a:ext>
            </a:extLst>
          </p:cNvPr>
          <p:cNvPicPr>
            <a:picLocks/>
          </p:cNvPicPr>
          <p:nvPr/>
        </p:nvPicPr>
        <p:blipFill>
          <a:blip r:embed="rId74"/>
          <a:stretch>
            <a:fillRect/>
          </a:stretch>
        </p:blipFill>
        <p:spPr>
          <a:xfrm>
            <a:off x="3270086" y="3990233"/>
            <a:ext cx="475488" cy="320040"/>
          </a:xfrm>
          <a:prstGeom prst="rect">
            <a:avLst/>
          </a:prstGeom>
        </p:spPr>
      </p:pic>
      <p:pic>
        <p:nvPicPr>
          <p:cNvPr id="150" name="Picture 149">
            <a:extLst>
              <a:ext uri="{FF2B5EF4-FFF2-40B4-BE49-F238E27FC236}">
                <a16:creationId xmlns:a16="http://schemas.microsoft.com/office/drawing/2014/main" id="{BBE9F654-754D-8879-3DEB-8B361FE40894}"/>
              </a:ext>
            </a:extLst>
          </p:cNvPr>
          <p:cNvPicPr>
            <a:picLocks/>
          </p:cNvPicPr>
          <p:nvPr/>
        </p:nvPicPr>
        <p:blipFill>
          <a:blip r:embed="rId75"/>
          <a:stretch>
            <a:fillRect/>
          </a:stretch>
        </p:blipFill>
        <p:spPr>
          <a:xfrm>
            <a:off x="8130114" y="3990233"/>
            <a:ext cx="475488" cy="320040"/>
          </a:xfrm>
          <a:prstGeom prst="rect">
            <a:avLst/>
          </a:prstGeom>
        </p:spPr>
      </p:pic>
      <p:pic>
        <p:nvPicPr>
          <p:cNvPr id="152" name="Picture 151">
            <a:extLst>
              <a:ext uri="{FF2B5EF4-FFF2-40B4-BE49-F238E27FC236}">
                <a16:creationId xmlns:a16="http://schemas.microsoft.com/office/drawing/2014/main" id="{AD10415F-1EAF-48E2-2449-A9461F3EA874}"/>
              </a:ext>
            </a:extLst>
          </p:cNvPr>
          <p:cNvPicPr>
            <a:picLocks/>
          </p:cNvPicPr>
          <p:nvPr/>
        </p:nvPicPr>
        <p:blipFill>
          <a:blip r:embed="rId76"/>
          <a:stretch>
            <a:fillRect/>
          </a:stretch>
        </p:blipFill>
        <p:spPr>
          <a:xfrm>
            <a:off x="5092595" y="3990233"/>
            <a:ext cx="475488" cy="320040"/>
          </a:xfrm>
          <a:prstGeom prst="rect">
            <a:avLst/>
          </a:prstGeom>
        </p:spPr>
      </p:pic>
      <p:pic>
        <p:nvPicPr>
          <p:cNvPr id="154" name="Picture 153">
            <a:extLst>
              <a:ext uri="{FF2B5EF4-FFF2-40B4-BE49-F238E27FC236}">
                <a16:creationId xmlns:a16="http://schemas.microsoft.com/office/drawing/2014/main" id="{F332FDC3-D157-C7B2-DB3F-3897DFC60701}"/>
              </a:ext>
            </a:extLst>
          </p:cNvPr>
          <p:cNvPicPr>
            <a:picLocks/>
          </p:cNvPicPr>
          <p:nvPr/>
        </p:nvPicPr>
        <p:blipFill>
          <a:blip r:embed="rId77"/>
          <a:stretch>
            <a:fillRect/>
          </a:stretch>
        </p:blipFill>
        <p:spPr>
          <a:xfrm>
            <a:off x="2055080" y="3990233"/>
            <a:ext cx="475488" cy="320040"/>
          </a:xfrm>
          <a:prstGeom prst="rect">
            <a:avLst/>
          </a:prstGeom>
        </p:spPr>
      </p:pic>
      <p:pic>
        <p:nvPicPr>
          <p:cNvPr id="156" name="Picture 155">
            <a:extLst>
              <a:ext uri="{FF2B5EF4-FFF2-40B4-BE49-F238E27FC236}">
                <a16:creationId xmlns:a16="http://schemas.microsoft.com/office/drawing/2014/main" id="{BDE96F75-BC4A-D267-FA4D-F55D43C2DCFE}"/>
              </a:ext>
            </a:extLst>
          </p:cNvPr>
          <p:cNvPicPr>
            <a:picLocks/>
          </p:cNvPicPr>
          <p:nvPr/>
        </p:nvPicPr>
        <p:blipFill>
          <a:blip r:embed="rId78"/>
          <a:stretch>
            <a:fillRect/>
          </a:stretch>
        </p:blipFill>
        <p:spPr>
          <a:xfrm>
            <a:off x="6307601" y="3990233"/>
            <a:ext cx="475488" cy="320040"/>
          </a:xfrm>
          <a:prstGeom prst="rect">
            <a:avLst/>
          </a:prstGeom>
        </p:spPr>
      </p:pic>
      <p:pic>
        <p:nvPicPr>
          <p:cNvPr id="158" name="Picture 157">
            <a:extLst>
              <a:ext uri="{FF2B5EF4-FFF2-40B4-BE49-F238E27FC236}">
                <a16:creationId xmlns:a16="http://schemas.microsoft.com/office/drawing/2014/main" id="{40D5BC28-5BD8-AD6C-2DD5-207D2E64C151}"/>
              </a:ext>
            </a:extLst>
          </p:cNvPr>
          <p:cNvPicPr>
            <a:picLocks/>
          </p:cNvPicPr>
          <p:nvPr/>
        </p:nvPicPr>
        <p:blipFill>
          <a:blip r:embed="rId79"/>
          <a:stretch>
            <a:fillRect/>
          </a:stretch>
        </p:blipFill>
        <p:spPr>
          <a:xfrm>
            <a:off x="3877589" y="3990233"/>
            <a:ext cx="475488" cy="320040"/>
          </a:xfrm>
          <a:prstGeom prst="rect">
            <a:avLst/>
          </a:prstGeom>
        </p:spPr>
      </p:pic>
      <p:pic>
        <p:nvPicPr>
          <p:cNvPr id="160" name="Picture 159">
            <a:extLst>
              <a:ext uri="{FF2B5EF4-FFF2-40B4-BE49-F238E27FC236}">
                <a16:creationId xmlns:a16="http://schemas.microsoft.com/office/drawing/2014/main" id="{BE4494C8-B449-7296-BDE1-D81A338CBB5B}"/>
              </a:ext>
            </a:extLst>
          </p:cNvPr>
          <p:cNvPicPr>
            <a:picLocks/>
          </p:cNvPicPr>
          <p:nvPr/>
        </p:nvPicPr>
        <p:blipFill>
          <a:blip r:embed="rId80"/>
          <a:stretch>
            <a:fillRect/>
          </a:stretch>
        </p:blipFill>
        <p:spPr>
          <a:xfrm>
            <a:off x="5700098" y="3990233"/>
            <a:ext cx="475488" cy="320040"/>
          </a:xfrm>
          <a:prstGeom prst="rect">
            <a:avLst/>
          </a:prstGeom>
        </p:spPr>
      </p:pic>
      <p:pic>
        <p:nvPicPr>
          <p:cNvPr id="6" name="Picture 5">
            <a:extLst>
              <a:ext uri="{FF2B5EF4-FFF2-40B4-BE49-F238E27FC236}">
                <a16:creationId xmlns:a16="http://schemas.microsoft.com/office/drawing/2014/main" id="{353AC1B6-A48F-C696-E99D-63C97F75A616}"/>
              </a:ext>
            </a:extLst>
          </p:cNvPr>
          <p:cNvPicPr>
            <a:picLocks/>
          </p:cNvPicPr>
          <p:nvPr/>
        </p:nvPicPr>
        <p:blipFill>
          <a:blip r:embed="rId81"/>
          <a:stretch>
            <a:fillRect/>
          </a:stretch>
        </p:blipFill>
        <p:spPr>
          <a:xfrm>
            <a:off x="8736581" y="3961139"/>
            <a:ext cx="475488" cy="320040"/>
          </a:xfrm>
          <a:prstGeom prst="rect">
            <a:avLst/>
          </a:prstGeom>
        </p:spPr>
      </p:pic>
      <p:pic>
        <p:nvPicPr>
          <p:cNvPr id="8" name="Picture 7">
            <a:extLst>
              <a:ext uri="{FF2B5EF4-FFF2-40B4-BE49-F238E27FC236}">
                <a16:creationId xmlns:a16="http://schemas.microsoft.com/office/drawing/2014/main" id="{537E4DDC-C567-A18A-F73F-2AB483F1605D}"/>
              </a:ext>
            </a:extLst>
          </p:cNvPr>
          <p:cNvPicPr>
            <a:picLocks/>
          </p:cNvPicPr>
          <p:nvPr/>
        </p:nvPicPr>
        <p:blipFill>
          <a:blip r:embed="rId82"/>
          <a:stretch>
            <a:fillRect/>
          </a:stretch>
        </p:blipFill>
        <p:spPr>
          <a:xfrm>
            <a:off x="1448385" y="4650957"/>
            <a:ext cx="475488" cy="320040"/>
          </a:xfrm>
          <a:prstGeom prst="rect">
            <a:avLst/>
          </a:prstGeom>
        </p:spPr>
      </p:pic>
      <p:pic>
        <p:nvPicPr>
          <p:cNvPr id="12" name="Picture 11">
            <a:extLst>
              <a:ext uri="{FF2B5EF4-FFF2-40B4-BE49-F238E27FC236}">
                <a16:creationId xmlns:a16="http://schemas.microsoft.com/office/drawing/2014/main" id="{D1B882DE-B8A5-B847-AF62-5F0D7C495167}"/>
              </a:ext>
            </a:extLst>
          </p:cNvPr>
          <p:cNvPicPr>
            <a:picLocks/>
          </p:cNvPicPr>
          <p:nvPr/>
        </p:nvPicPr>
        <p:blipFill>
          <a:blip r:embed="rId83"/>
          <a:stretch>
            <a:fillRect/>
          </a:stretch>
        </p:blipFill>
        <p:spPr>
          <a:xfrm>
            <a:off x="2664199" y="4650957"/>
            <a:ext cx="475488" cy="320040"/>
          </a:xfrm>
          <a:prstGeom prst="rect">
            <a:avLst/>
          </a:prstGeom>
        </p:spPr>
      </p:pic>
      <p:pic>
        <p:nvPicPr>
          <p:cNvPr id="16" name="Picture 15">
            <a:extLst>
              <a:ext uri="{FF2B5EF4-FFF2-40B4-BE49-F238E27FC236}">
                <a16:creationId xmlns:a16="http://schemas.microsoft.com/office/drawing/2014/main" id="{42A4EA40-12B7-5B71-BBB8-CFB45A184EE8}"/>
              </a:ext>
            </a:extLst>
          </p:cNvPr>
          <p:cNvPicPr>
            <a:picLocks/>
          </p:cNvPicPr>
          <p:nvPr/>
        </p:nvPicPr>
        <p:blipFill>
          <a:blip r:embed="rId84"/>
          <a:stretch>
            <a:fillRect/>
          </a:stretch>
        </p:blipFill>
        <p:spPr>
          <a:xfrm>
            <a:off x="3272106" y="4650957"/>
            <a:ext cx="475488" cy="320040"/>
          </a:xfrm>
          <a:prstGeom prst="rect">
            <a:avLst/>
          </a:prstGeom>
        </p:spPr>
      </p:pic>
      <p:pic>
        <p:nvPicPr>
          <p:cNvPr id="20" name="Picture 19">
            <a:extLst>
              <a:ext uri="{FF2B5EF4-FFF2-40B4-BE49-F238E27FC236}">
                <a16:creationId xmlns:a16="http://schemas.microsoft.com/office/drawing/2014/main" id="{741B1A7E-997C-86EE-C525-B7CF950CBAD4}"/>
              </a:ext>
            </a:extLst>
          </p:cNvPr>
          <p:cNvPicPr>
            <a:picLocks/>
          </p:cNvPicPr>
          <p:nvPr/>
        </p:nvPicPr>
        <p:blipFill>
          <a:blip r:embed="rId85"/>
          <a:stretch>
            <a:fillRect/>
          </a:stretch>
        </p:blipFill>
        <p:spPr>
          <a:xfrm>
            <a:off x="9352907" y="3961139"/>
            <a:ext cx="475488" cy="320040"/>
          </a:xfrm>
          <a:prstGeom prst="rect">
            <a:avLst/>
          </a:prstGeom>
        </p:spPr>
      </p:pic>
      <p:pic>
        <p:nvPicPr>
          <p:cNvPr id="28" name="Picture 27">
            <a:extLst>
              <a:ext uri="{FF2B5EF4-FFF2-40B4-BE49-F238E27FC236}">
                <a16:creationId xmlns:a16="http://schemas.microsoft.com/office/drawing/2014/main" id="{D6F6B6DF-242D-E2F8-1B70-6044FCACBC18}"/>
              </a:ext>
            </a:extLst>
          </p:cNvPr>
          <p:cNvPicPr>
            <a:picLocks/>
          </p:cNvPicPr>
          <p:nvPr/>
        </p:nvPicPr>
        <p:blipFill>
          <a:blip r:embed="rId86"/>
          <a:stretch>
            <a:fillRect/>
          </a:stretch>
        </p:blipFill>
        <p:spPr>
          <a:xfrm>
            <a:off x="4487920" y="4650957"/>
            <a:ext cx="475488" cy="320040"/>
          </a:xfrm>
          <a:prstGeom prst="rect">
            <a:avLst/>
          </a:prstGeom>
        </p:spPr>
      </p:pic>
      <p:pic>
        <p:nvPicPr>
          <p:cNvPr id="32" name="Picture 31">
            <a:extLst>
              <a:ext uri="{FF2B5EF4-FFF2-40B4-BE49-F238E27FC236}">
                <a16:creationId xmlns:a16="http://schemas.microsoft.com/office/drawing/2014/main" id="{2F459379-AC66-C30A-6066-F964E76E0913}"/>
              </a:ext>
            </a:extLst>
          </p:cNvPr>
          <p:cNvPicPr>
            <a:picLocks/>
          </p:cNvPicPr>
          <p:nvPr/>
        </p:nvPicPr>
        <p:blipFill>
          <a:blip r:embed="rId87"/>
          <a:stretch>
            <a:fillRect/>
          </a:stretch>
        </p:blipFill>
        <p:spPr>
          <a:xfrm>
            <a:off x="2056292" y="4650957"/>
            <a:ext cx="475488" cy="320040"/>
          </a:xfrm>
          <a:prstGeom prst="rect">
            <a:avLst/>
          </a:prstGeom>
        </p:spPr>
      </p:pic>
      <p:pic>
        <p:nvPicPr>
          <p:cNvPr id="36" name="Picture 35">
            <a:extLst>
              <a:ext uri="{FF2B5EF4-FFF2-40B4-BE49-F238E27FC236}">
                <a16:creationId xmlns:a16="http://schemas.microsoft.com/office/drawing/2014/main" id="{708B1FDC-641E-151C-07E5-0686A1C2B0A5}"/>
              </a:ext>
            </a:extLst>
          </p:cNvPr>
          <p:cNvPicPr>
            <a:picLocks/>
          </p:cNvPicPr>
          <p:nvPr/>
        </p:nvPicPr>
        <p:blipFill>
          <a:blip r:embed="rId88"/>
          <a:stretch>
            <a:fillRect/>
          </a:stretch>
        </p:blipFill>
        <p:spPr>
          <a:xfrm>
            <a:off x="3880013" y="4650957"/>
            <a:ext cx="475488" cy="320040"/>
          </a:xfrm>
          <a:prstGeom prst="rect">
            <a:avLst/>
          </a:prstGeom>
        </p:spPr>
      </p:pic>
      <p:pic>
        <p:nvPicPr>
          <p:cNvPr id="40" name="Picture 39">
            <a:extLst>
              <a:ext uri="{FF2B5EF4-FFF2-40B4-BE49-F238E27FC236}">
                <a16:creationId xmlns:a16="http://schemas.microsoft.com/office/drawing/2014/main" id="{28A7B86A-FF7C-CA28-E57B-CCEEC4B25DFB}"/>
              </a:ext>
            </a:extLst>
          </p:cNvPr>
          <p:cNvPicPr>
            <a:picLocks/>
          </p:cNvPicPr>
          <p:nvPr/>
        </p:nvPicPr>
        <p:blipFill>
          <a:blip r:embed="rId89"/>
          <a:stretch>
            <a:fillRect/>
          </a:stretch>
        </p:blipFill>
        <p:spPr>
          <a:xfrm>
            <a:off x="232571" y="4650957"/>
            <a:ext cx="475488" cy="320040"/>
          </a:xfrm>
          <a:prstGeom prst="rect">
            <a:avLst/>
          </a:prstGeom>
        </p:spPr>
      </p:pic>
      <p:pic>
        <p:nvPicPr>
          <p:cNvPr id="44" name="Picture 43">
            <a:extLst>
              <a:ext uri="{FF2B5EF4-FFF2-40B4-BE49-F238E27FC236}">
                <a16:creationId xmlns:a16="http://schemas.microsoft.com/office/drawing/2014/main" id="{BF5518FC-6576-AE92-4171-818E8D361173}"/>
              </a:ext>
            </a:extLst>
          </p:cNvPr>
          <p:cNvPicPr>
            <a:picLocks/>
          </p:cNvPicPr>
          <p:nvPr/>
        </p:nvPicPr>
        <p:blipFill>
          <a:blip r:embed="rId90"/>
          <a:stretch>
            <a:fillRect/>
          </a:stretch>
        </p:blipFill>
        <p:spPr>
          <a:xfrm>
            <a:off x="840478" y="4650957"/>
            <a:ext cx="475488" cy="320040"/>
          </a:xfrm>
          <a:prstGeom prst="rect">
            <a:avLst/>
          </a:prstGeom>
        </p:spPr>
      </p:pic>
      <p:pic>
        <p:nvPicPr>
          <p:cNvPr id="10" name="Picture 9">
            <a:extLst>
              <a:ext uri="{FF2B5EF4-FFF2-40B4-BE49-F238E27FC236}">
                <a16:creationId xmlns:a16="http://schemas.microsoft.com/office/drawing/2014/main" id="{258CCA84-CD1A-0A5C-24FC-6B0A59F94567}"/>
              </a:ext>
            </a:extLst>
          </p:cNvPr>
          <p:cNvPicPr>
            <a:picLocks noChangeAspect="1"/>
          </p:cNvPicPr>
          <p:nvPr/>
        </p:nvPicPr>
        <p:blipFill>
          <a:blip r:embed="rId91"/>
          <a:stretch>
            <a:fillRect/>
          </a:stretch>
        </p:blipFill>
        <p:spPr>
          <a:xfrm>
            <a:off x="6311641" y="4652450"/>
            <a:ext cx="475488" cy="317054"/>
          </a:xfrm>
          <a:prstGeom prst="rect">
            <a:avLst/>
          </a:prstGeom>
        </p:spPr>
      </p:pic>
      <p:pic>
        <p:nvPicPr>
          <p:cNvPr id="18" name="Picture 17">
            <a:extLst>
              <a:ext uri="{FF2B5EF4-FFF2-40B4-BE49-F238E27FC236}">
                <a16:creationId xmlns:a16="http://schemas.microsoft.com/office/drawing/2014/main" id="{1543BC67-F59A-E107-E0DB-EF86D2886629}"/>
              </a:ext>
            </a:extLst>
          </p:cNvPr>
          <p:cNvPicPr>
            <a:picLocks noChangeAspect="1"/>
          </p:cNvPicPr>
          <p:nvPr/>
        </p:nvPicPr>
        <p:blipFill>
          <a:blip r:embed="rId92"/>
          <a:stretch>
            <a:fillRect/>
          </a:stretch>
        </p:blipFill>
        <p:spPr>
          <a:xfrm>
            <a:off x="6919548" y="4652450"/>
            <a:ext cx="475488" cy="317054"/>
          </a:xfrm>
          <a:prstGeom prst="rect">
            <a:avLst/>
          </a:prstGeom>
        </p:spPr>
      </p:pic>
      <p:pic>
        <p:nvPicPr>
          <p:cNvPr id="26" name="Picture 25">
            <a:extLst>
              <a:ext uri="{FF2B5EF4-FFF2-40B4-BE49-F238E27FC236}">
                <a16:creationId xmlns:a16="http://schemas.microsoft.com/office/drawing/2014/main" id="{7C574EFE-0741-0B44-E4E2-1A0246253115}"/>
              </a:ext>
            </a:extLst>
          </p:cNvPr>
          <p:cNvPicPr>
            <a:picLocks noChangeAspect="1"/>
          </p:cNvPicPr>
          <p:nvPr/>
        </p:nvPicPr>
        <p:blipFill>
          <a:blip r:embed="rId93"/>
          <a:stretch>
            <a:fillRect/>
          </a:stretch>
        </p:blipFill>
        <p:spPr>
          <a:xfrm>
            <a:off x="5703734" y="4638056"/>
            <a:ext cx="475488" cy="345843"/>
          </a:xfrm>
          <a:prstGeom prst="rect">
            <a:avLst/>
          </a:prstGeom>
        </p:spPr>
      </p:pic>
      <p:pic>
        <p:nvPicPr>
          <p:cNvPr id="34" name="Picture 33">
            <a:extLst>
              <a:ext uri="{FF2B5EF4-FFF2-40B4-BE49-F238E27FC236}">
                <a16:creationId xmlns:a16="http://schemas.microsoft.com/office/drawing/2014/main" id="{54221BA3-1579-CA7E-EC97-9E5FF319E23D}"/>
              </a:ext>
            </a:extLst>
          </p:cNvPr>
          <p:cNvPicPr>
            <a:picLocks/>
          </p:cNvPicPr>
          <p:nvPr/>
        </p:nvPicPr>
        <p:blipFill>
          <a:blip r:embed="rId94"/>
          <a:stretch>
            <a:fillRect/>
          </a:stretch>
        </p:blipFill>
        <p:spPr>
          <a:xfrm>
            <a:off x="2658439" y="5310188"/>
            <a:ext cx="475488" cy="320040"/>
          </a:xfrm>
          <a:prstGeom prst="rect">
            <a:avLst/>
          </a:prstGeom>
        </p:spPr>
      </p:pic>
      <p:pic>
        <p:nvPicPr>
          <p:cNvPr id="42" name="Picture 41">
            <a:extLst>
              <a:ext uri="{FF2B5EF4-FFF2-40B4-BE49-F238E27FC236}">
                <a16:creationId xmlns:a16="http://schemas.microsoft.com/office/drawing/2014/main" id="{9445B099-D0F8-3FEB-4C0F-2E160DBD3807}"/>
              </a:ext>
            </a:extLst>
          </p:cNvPr>
          <p:cNvPicPr>
            <a:picLocks noChangeAspect="1"/>
          </p:cNvPicPr>
          <p:nvPr/>
        </p:nvPicPr>
        <p:blipFill>
          <a:blip r:embed="rId95"/>
          <a:stretch>
            <a:fillRect/>
          </a:stretch>
        </p:blipFill>
        <p:spPr>
          <a:xfrm>
            <a:off x="3885773" y="5307270"/>
            <a:ext cx="475488" cy="317054"/>
          </a:xfrm>
          <a:prstGeom prst="rect">
            <a:avLst/>
          </a:prstGeom>
        </p:spPr>
      </p:pic>
      <p:pic>
        <p:nvPicPr>
          <p:cNvPr id="48" name="Picture 47">
            <a:extLst>
              <a:ext uri="{FF2B5EF4-FFF2-40B4-BE49-F238E27FC236}">
                <a16:creationId xmlns:a16="http://schemas.microsoft.com/office/drawing/2014/main" id="{01785985-48CC-8837-4EA2-F8086353F8A5}"/>
              </a:ext>
            </a:extLst>
          </p:cNvPr>
          <p:cNvPicPr>
            <a:picLocks noChangeAspect="1"/>
          </p:cNvPicPr>
          <p:nvPr/>
        </p:nvPicPr>
        <p:blipFill>
          <a:blip r:embed="rId96"/>
          <a:stretch>
            <a:fillRect/>
          </a:stretch>
        </p:blipFill>
        <p:spPr>
          <a:xfrm>
            <a:off x="3272106" y="5307270"/>
            <a:ext cx="475488" cy="317054"/>
          </a:xfrm>
          <a:prstGeom prst="rect">
            <a:avLst/>
          </a:prstGeom>
        </p:spPr>
      </p:pic>
      <p:pic>
        <p:nvPicPr>
          <p:cNvPr id="52" name="Picture 51">
            <a:extLst>
              <a:ext uri="{FF2B5EF4-FFF2-40B4-BE49-F238E27FC236}">
                <a16:creationId xmlns:a16="http://schemas.microsoft.com/office/drawing/2014/main" id="{D004410F-824B-5555-D5A6-9FAA3FFE24C4}"/>
              </a:ext>
            </a:extLst>
          </p:cNvPr>
          <p:cNvPicPr>
            <a:picLocks/>
          </p:cNvPicPr>
          <p:nvPr/>
        </p:nvPicPr>
        <p:blipFill>
          <a:blip r:embed="rId97"/>
          <a:stretch>
            <a:fillRect/>
          </a:stretch>
        </p:blipFill>
        <p:spPr>
          <a:xfrm>
            <a:off x="2051972" y="5310188"/>
            <a:ext cx="475488" cy="320040"/>
          </a:xfrm>
          <a:prstGeom prst="rect">
            <a:avLst/>
          </a:prstGeom>
        </p:spPr>
      </p:pic>
      <p:pic>
        <p:nvPicPr>
          <p:cNvPr id="56" name="Picture 55">
            <a:extLst>
              <a:ext uri="{FF2B5EF4-FFF2-40B4-BE49-F238E27FC236}">
                <a16:creationId xmlns:a16="http://schemas.microsoft.com/office/drawing/2014/main" id="{7732D1BD-90A0-96DA-3074-8D1560BF15B5}"/>
              </a:ext>
            </a:extLst>
          </p:cNvPr>
          <p:cNvPicPr>
            <a:picLocks noChangeAspect="1"/>
          </p:cNvPicPr>
          <p:nvPr/>
        </p:nvPicPr>
        <p:blipFill>
          <a:blip r:embed="rId98"/>
          <a:stretch>
            <a:fillRect/>
          </a:stretch>
        </p:blipFill>
        <p:spPr>
          <a:xfrm>
            <a:off x="7527455" y="4668331"/>
            <a:ext cx="475488" cy="285293"/>
          </a:xfrm>
          <a:prstGeom prst="rect">
            <a:avLst/>
          </a:prstGeom>
        </p:spPr>
      </p:pic>
      <p:pic>
        <p:nvPicPr>
          <p:cNvPr id="60" name="Picture 59">
            <a:extLst>
              <a:ext uri="{FF2B5EF4-FFF2-40B4-BE49-F238E27FC236}">
                <a16:creationId xmlns:a16="http://schemas.microsoft.com/office/drawing/2014/main" id="{DE80643D-63A1-0712-7AEA-9EE4899EBB58}"/>
              </a:ext>
            </a:extLst>
          </p:cNvPr>
          <p:cNvPicPr>
            <a:picLocks noChangeAspect="1"/>
          </p:cNvPicPr>
          <p:nvPr/>
        </p:nvPicPr>
        <p:blipFill>
          <a:blip r:embed="rId99"/>
          <a:stretch>
            <a:fillRect/>
          </a:stretch>
        </p:blipFill>
        <p:spPr>
          <a:xfrm>
            <a:off x="8135362" y="4652450"/>
            <a:ext cx="475488" cy="317054"/>
          </a:xfrm>
          <a:prstGeom prst="rect">
            <a:avLst/>
          </a:prstGeom>
        </p:spPr>
      </p:pic>
      <p:pic>
        <p:nvPicPr>
          <p:cNvPr id="63" name="Picture 62">
            <a:extLst>
              <a:ext uri="{FF2B5EF4-FFF2-40B4-BE49-F238E27FC236}">
                <a16:creationId xmlns:a16="http://schemas.microsoft.com/office/drawing/2014/main" id="{818BCDAB-52E3-DDE8-F5D7-5FB6FAC315A4}"/>
              </a:ext>
            </a:extLst>
          </p:cNvPr>
          <p:cNvPicPr>
            <a:picLocks/>
          </p:cNvPicPr>
          <p:nvPr/>
        </p:nvPicPr>
        <p:blipFill>
          <a:blip r:embed="rId100"/>
          <a:stretch>
            <a:fillRect/>
          </a:stretch>
        </p:blipFill>
        <p:spPr>
          <a:xfrm>
            <a:off x="8743269" y="4650957"/>
            <a:ext cx="475488" cy="320040"/>
          </a:xfrm>
          <a:prstGeom prst="rect">
            <a:avLst/>
          </a:prstGeom>
        </p:spPr>
      </p:pic>
      <p:pic>
        <p:nvPicPr>
          <p:cNvPr id="66" name="Picture 65">
            <a:extLst>
              <a:ext uri="{FF2B5EF4-FFF2-40B4-BE49-F238E27FC236}">
                <a16:creationId xmlns:a16="http://schemas.microsoft.com/office/drawing/2014/main" id="{DD84463D-41D4-30F6-4109-A73BDAF15D2D}"/>
              </a:ext>
            </a:extLst>
          </p:cNvPr>
          <p:cNvPicPr>
            <a:picLocks/>
          </p:cNvPicPr>
          <p:nvPr/>
        </p:nvPicPr>
        <p:blipFill>
          <a:blip r:embed="rId101"/>
          <a:stretch>
            <a:fillRect/>
          </a:stretch>
        </p:blipFill>
        <p:spPr>
          <a:xfrm>
            <a:off x="839038" y="5311681"/>
            <a:ext cx="475488" cy="320040"/>
          </a:xfrm>
          <a:prstGeom prst="rect">
            <a:avLst/>
          </a:prstGeom>
        </p:spPr>
      </p:pic>
      <p:pic>
        <p:nvPicPr>
          <p:cNvPr id="70" name="Picture 69">
            <a:extLst>
              <a:ext uri="{FF2B5EF4-FFF2-40B4-BE49-F238E27FC236}">
                <a16:creationId xmlns:a16="http://schemas.microsoft.com/office/drawing/2014/main" id="{B10A4989-890B-D48E-1BED-2FC52BC9F2E6}"/>
              </a:ext>
            </a:extLst>
          </p:cNvPr>
          <p:cNvPicPr>
            <a:picLocks noChangeAspect="1"/>
          </p:cNvPicPr>
          <p:nvPr/>
        </p:nvPicPr>
        <p:blipFill>
          <a:blip r:embed="rId102"/>
          <a:stretch>
            <a:fillRect/>
          </a:stretch>
        </p:blipFill>
        <p:spPr>
          <a:xfrm>
            <a:off x="9351178" y="4652450"/>
            <a:ext cx="475488" cy="317054"/>
          </a:xfrm>
          <a:prstGeom prst="rect">
            <a:avLst/>
          </a:prstGeom>
        </p:spPr>
      </p:pic>
      <p:pic>
        <p:nvPicPr>
          <p:cNvPr id="74" name="Picture 73">
            <a:extLst>
              <a:ext uri="{FF2B5EF4-FFF2-40B4-BE49-F238E27FC236}">
                <a16:creationId xmlns:a16="http://schemas.microsoft.com/office/drawing/2014/main" id="{31197776-C791-7360-7314-7C493075E75F}"/>
              </a:ext>
            </a:extLst>
          </p:cNvPr>
          <p:cNvPicPr>
            <a:picLocks/>
          </p:cNvPicPr>
          <p:nvPr/>
        </p:nvPicPr>
        <p:blipFill>
          <a:blip r:embed="rId103"/>
          <a:stretch>
            <a:fillRect/>
          </a:stretch>
        </p:blipFill>
        <p:spPr>
          <a:xfrm>
            <a:off x="251207" y="5311681"/>
            <a:ext cx="475488" cy="320040"/>
          </a:xfrm>
          <a:prstGeom prst="rect">
            <a:avLst/>
          </a:prstGeom>
        </p:spPr>
      </p:pic>
      <p:pic>
        <p:nvPicPr>
          <p:cNvPr id="78" name="Picture 77">
            <a:extLst>
              <a:ext uri="{FF2B5EF4-FFF2-40B4-BE49-F238E27FC236}">
                <a16:creationId xmlns:a16="http://schemas.microsoft.com/office/drawing/2014/main" id="{FA31037F-20BC-9922-FBA0-4269EDB8AB3E}"/>
              </a:ext>
            </a:extLst>
          </p:cNvPr>
          <p:cNvPicPr>
            <a:picLocks/>
          </p:cNvPicPr>
          <p:nvPr/>
        </p:nvPicPr>
        <p:blipFill>
          <a:blip r:embed="rId104"/>
          <a:stretch>
            <a:fillRect/>
          </a:stretch>
        </p:blipFill>
        <p:spPr>
          <a:xfrm>
            <a:off x="1445505" y="5313174"/>
            <a:ext cx="475488" cy="317054"/>
          </a:xfrm>
          <a:prstGeom prst="rect">
            <a:avLst/>
          </a:prstGeom>
        </p:spPr>
      </p:pic>
      <p:pic>
        <p:nvPicPr>
          <p:cNvPr id="14" name="Picture 13">
            <a:extLst>
              <a:ext uri="{FF2B5EF4-FFF2-40B4-BE49-F238E27FC236}">
                <a16:creationId xmlns:a16="http://schemas.microsoft.com/office/drawing/2014/main" id="{CECDAAE9-CB74-5E27-16D1-EC8234F37B15}"/>
              </a:ext>
            </a:extLst>
          </p:cNvPr>
          <p:cNvPicPr>
            <a:picLocks/>
          </p:cNvPicPr>
          <p:nvPr/>
        </p:nvPicPr>
        <p:blipFill>
          <a:blip r:embed="rId105"/>
          <a:stretch>
            <a:fillRect/>
          </a:stretch>
        </p:blipFill>
        <p:spPr>
          <a:xfrm>
            <a:off x="4472585" y="5311681"/>
            <a:ext cx="475488" cy="320040"/>
          </a:xfrm>
          <a:prstGeom prst="rect">
            <a:avLst/>
          </a:prstGeom>
        </p:spPr>
      </p:pic>
      <p:pic>
        <p:nvPicPr>
          <p:cNvPr id="22" name="Picture 21">
            <a:extLst>
              <a:ext uri="{FF2B5EF4-FFF2-40B4-BE49-F238E27FC236}">
                <a16:creationId xmlns:a16="http://schemas.microsoft.com/office/drawing/2014/main" id="{A9A8E653-144C-CA00-930F-74D493745CF3}"/>
              </a:ext>
            </a:extLst>
          </p:cNvPr>
          <p:cNvPicPr>
            <a:picLocks noChangeAspect="1"/>
          </p:cNvPicPr>
          <p:nvPr/>
        </p:nvPicPr>
        <p:blipFill>
          <a:blip r:embed="rId106"/>
          <a:stretch>
            <a:fillRect/>
          </a:stretch>
        </p:blipFill>
        <p:spPr>
          <a:xfrm>
            <a:off x="5098707" y="5304991"/>
            <a:ext cx="479966" cy="320040"/>
          </a:xfrm>
          <a:prstGeom prst="rect">
            <a:avLst/>
          </a:prstGeom>
        </p:spPr>
      </p:pic>
    </p:spTree>
    <p:extLst>
      <p:ext uri="{BB962C8B-B14F-4D97-AF65-F5344CB8AC3E}">
        <p14:creationId xmlns:p14="http://schemas.microsoft.com/office/powerpoint/2010/main" val="2920576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A53A776-6EE3-4BDD-A5A0-61B3DF3E873D}"/>
              </a:ext>
            </a:extLst>
          </p:cNvPr>
          <p:cNvSpPr txBox="1"/>
          <p:nvPr/>
        </p:nvSpPr>
        <p:spPr>
          <a:xfrm>
            <a:off x="824100"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erform x-rays which includes-</a:t>
            </a:r>
          </a:p>
          <a:p>
            <a:pPr marL="171448" indent="-171448" defTabSz="914395">
              <a:buFont typeface="Arial" panose="020B0604020202020204" pitchFamily="34" charset="0"/>
              <a:buChar char="•"/>
              <a:defRPr/>
            </a:pPr>
            <a:r>
              <a:rPr lang="en-GB" sz="1000" dirty="0">
                <a:solidFill>
                  <a:srgbClr val="003294"/>
                </a:solidFill>
                <a:latin typeface="Arial"/>
              </a:rPr>
              <a:t>Small Dental X-Ray</a:t>
            </a:r>
          </a:p>
          <a:p>
            <a:pPr marL="171448" indent="-171448" defTabSz="914395">
              <a:buFont typeface="Arial" panose="020B0604020202020204" pitchFamily="34" charset="0"/>
              <a:buChar char="•"/>
              <a:defRPr/>
            </a:pPr>
            <a:r>
              <a:rPr lang="en-GB" sz="1000" dirty="0">
                <a:solidFill>
                  <a:srgbClr val="003294"/>
                </a:solidFill>
                <a:latin typeface="Arial"/>
              </a:rPr>
              <a:t>OPG</a:t>
            </a:r>
          </a:p>
          <a:p>
            <a:pPr marL="171448" indent="-171448" defTabSz="914395">
              <a:buFont typeface="Arial" panose="020B0604020202020204" pitchFamily="34" charset="0"/>
              <a:buChar char="•"/>
              <a:defRPr/>
            </a:pPr>
            <a:r>
              <a:rPr lang="en-GB" sz="1000" dirty="0">
                <a:solidFill>
                  <a:srgbClr val="003294"/>
                </a:solidFill>
                <a:latin typeface="Arial"/>
              </a:rPr>
              <a:t>3-D Cone Beam X-Ray</a:t>
            </a:r>
          </a:p>
          <a:p>
            <a:pPr defTabSz="914395">
              <a:defRPr/>
            </a:pPr>
            <a:r>
              <a:rPr lang="en-GB" sz="1000" dirty="0">
                <a:solidFill>
                  <a:srgbClr val="003294"/>
                </a:solidFill>
                <a:latin typeface="Arial"/>
              </a:rPr>
              <a:t>Further, provide services for Gingivitis and Periodontitis</a:t>
            </a:r>
          </a:p>
          <a:p>
            <a:pPr defTabSz="914395">
              <a:defRPr/>
            </a:pPr>
            <a:endParaRPr lang="en-GB" sz="1000" dirty="0">
              <a:solidFill>
                <a:srgbClr val="003294"/>
              </a:solidFill>
              <a:latin typeface="Arial"/>
            </a:endParaRPr>
          </a:p>
        </p:txBody>
      </p:sp>
      <p:sp>
        <p:nvSpPr>
          <p:cNvPr id="23" name="TextBox 22">
            <a:extLst>
              <a:ext uri="{FF2B5EF4-FFF2-40B4-BE49-F238E27FC236}">
                <a16:creationId xmlns:a16="http://schemas.microsoft.com/office/drawing/2014/main" id="{920AAADC-BA36-4F48-82E9-40D526EAD181}"/>
              </a:ext>
            </a:extLst>
          </p:cNvPr>
          <p:cNvSpPr txBox="1"/>
          <p:nvPr/>
        </p:nvSpPr>
        <p:spPr>
          <a:xfrm>
            <a:off x="4300883"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se treatments are performed for –</a:t>
            </a:r>
          </a:p>
          <a:p>
            <a:pPr marL="171448" indent="-171448" defTabSz="914395">
              <a:buFont typeface="Arial" panose="020B0604020202020204" pitchFamily="34" charset="0"/>
              <a:buChar char="•"/>
              <a:defRPr/>
            </a:pPr>
            <a:r>
              <a:rPr lang="en-US" sz="1000" dirty="0">
                <a:solidFill>
                  <a:srgbClr val="003294"/>
                </a:solidFill>
                <a:latin typeface="Arial"/>
              </a:rPr>
              <a:t>Dental decay</a:t>
            </a:r>
          </a:p>
          <a:p>
            <a:pPr marL="171448" indent="-171448" defTabSz="914395">
              <a:buFont typeface="Arial" panose="020B0604020202020204" pitchFamily="34" charset="0"/>
              <a:buChar char="•"/>
              <a:defRPr/>
            </a:pPr>
            <a:r>
              <a:rPr lang="en-US" sz="1000" dirty="0">
                <a:solidFill>
                  <a:srgbClr val="003294"/>
                </a:solidFill>
                <a:latin typeface="Arial"/>
              </a:rPr>
              <a:t>Dental trauma</a:t>
            </a:r>
          </a:p>
          <a:p>
            <a:pPr marL="171448" indent="-171448" defTabSz="914395">
              <a:buFont typeface="Arial" panose="020B0604020202020204" pitchFamily="34" charset="0"/>
              <a:buChar char="•"/>
              <a:defRPr/>
            </a:pPr>
            <a:r>
              <a:rPr lang="en-US" sz="1000" dirty="0">
                <a:solidFill>
                  <a:srgbClr val="003294"/>
                </a:solidFill>
                <a:latin typeface="Arial"/>
              </a:rPr>
              <a:t>A broken filling or crown</a:t>
            </a:r>
          </a:p>
          <a:p>
            <a:pPr marL="171448" indent="-171448" defTabSz="914395">
              <a:buFont typeface="Arial" panose="020B0604020202020204" pitchFamily="34" charset="0"/>
              <a:buChar char="•"/>
              <a:defRPr/>
            </a:pPr>
            <a:r>
              <a:rPr lang="en-US" sz="1000" dirty="0">
                <a:solidFill>
                  <a:srgbClr val="003294"/>
                </a:solidFill>
                <a:latin typeface="Arial"/>
              </a:rPr>
              <a:t>Extreme wear</a:t>
            </a:r>
          </a:p>
          <a:p>
            <a:pPr marL="171448" indent="-171448" defTabSz="914395">
              <a:buFont typeface="Arial" panose="020B0604020202020204" pitchFamily="34" charset="0"/>
              <a:buChar char="•"/>
              <a:defRPr/>
            </a:pPr>
            <a:r>
              <a:rPr lang="en-US" sz="1000" dirty="0">
                <a:solidFill>
                  <a:srgbClr val="003294"/>
                </a:solidFill>
                <a:latin typeface="Arial"/>
              </a:rPr>
              <a:t>Severe gum disease</a:t>
            </a:r>
          </a:p>
          <a:p>
            <a:pPr marL="171448" indent="-171448" defTabSz="914395">
              <a:buFont typeface="Arial" panose="020B0604020202020204" pitchFamily="34" charset="0"/>
              <a:buChar char="•"/>
              <a:defRPr/>
            </a:pPr>
            <a:r>
              <a:rPr lang="en-US" sz="1000" dirty="0">
                <a:solidFill>
                  <a:srgbClr val="003294"/>
                </a:solidFill>
                <a:latin typeface="Arial"/>
              </a:rPr>
              <a:t>Replace missing teeth</a:t>
            </a:r>
          </a:p>
          <a:p>
            <a:pPr marL="171448" indent="-171448" defTabSz="914395">
              <a:buFont typeface="Arial" panose="020B0604020202020204" pitchFamily="34" charset="0"/>
              <a:buChar char="•"/>
              <a:defRPr/>
            </a:pPr>
            <a:endParaRPr lang="en-GB" sz="1000" dirty="0">
              <a:solidFill>
                <a:srgbClr val="003294"/>
              </a:solidFill>
              <a:latin typeface="Arial"/>
            </a:endParaRPr>
          </a:p>
        </p:txBody>
      </p:sp>
      <p:sp>
        <p:nvSpPr>
          <p:cNvPr id="32" name="TextBox 31">
            <a:extLst>
              <a:ext uri="{FF2B5EF4-FFF2-40B4-BE49-F238E27FC236}">
                <a16:creationId xmlns:a16="http://schemas.microsoft.com/office/drawing/2014/main" id="{0F1AF517-439C-471F-958A-46034795B837}"/>
              </a:ext>
            </a:extLst>
          </p:cNvPr>
          <p:cNvSpPr txBox="1"/>
          <p:nvPr/>
        </p:nvSpPr>
        <p:spPr>
          <a:xfrm>
            <a:off x="5974918" y="1330326"/>
            <a:ext cx="1489675" cy="1231106"/>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erform extraction of the teeth majorly due to-</a:t>
            </a:r>
          </a:p>
          <a:p>
            <a:pPr marL="171448" indent="-171448" defTabSz="914395">
              <a:buFont typeface="Arial" panose="020B0604020202020204" pitchFamily="34" charset="0"/>
              <a:buChar char="•"/>
              <a:defRPr/>
            </a:pPr>
            <a:r>
              <a:rPr lang="en-US" sz="1000" dirty="0">
                <a:solidFill>
                  <a:srgbClr val="003294"/>
                </a:solidFill>
                <a:latin typeface="Arial"/>
              </a:rPr>
              <a:t>D</a:t>
            </a:r>
            <a:r>
              <a:rPr lang="en-US" sz="1000" dirty="0" err="1">
                <a:solidFill>
                  <a:srgbClr val="003294"/>
                </a:solidFill>
                <a:latin typeface="Arial"/>
              </a:rPr>
              <a:t>ecay</a:t>
            </a:r>
            <a:r>
              <a:rPr lang="en-US" sz="1000" dirty="0">
                <a:solidFill>
                  <a:srgbClr val="003294"/>
                </a:solidFill>
                <a:latin typeface="Arial"/>
              </a:rPr>
              <a:t> or damage to the tooth</a:t>
            </a:r>
          </a:p>
          <a:p>
            <a:pPr marL="171448" indent="-171448" defTabSz="914395">
              <a:buFont typeface="Arial" panose="020B0604020202020204" pitchFamily="34" charset="0"/>
              <a:buChar char="•"/>
              <a:defRPr/>
            </a:pPr>
            <a:r>
              <a:rPr lang="en-US" sz="1000" dirty="0">
                <a:solidFill>
                  <a:srgbClr val="003294"/>
                </a:solidFill>
                <a:latin typeface="Arial"/>
              </a:rPr>
              <a:t>Gum disease</a:t>
            </a:r>
          </a:p>
          <a:p>
            <a:pPr marL="171448" indent="-171448" defTabSz="914395">
              <a:buFont typeface="Arial" panose="020B0604020202020204" pitchFamily="34" charset="0"/>
              <a:buChar char="•"/>
              <a:defRPr/>
            </a:pPr>
            <a:r>
              <a:rPr lang="en-US" sz="1000" dirty="0">
                <a:solidFill>
                  <a:srgbClr val="003294"/>
                </a:solidFill>
                <a:latin typeface="Arial"/>
              </a:rPr>
              <a:t>Extensive tooth cracks</a:t>
            </a:r>
          </a:p>
          <a:p>
            <a:pPr marL="171448" indent="-171448" defTabSz="914395">
              <a:buFont typeface="Arial" panose="020B0604020202020204" pitchFamily="34" charset="0"/>
              <a:buChar char="•"/>
              <a:defRPr/>
            </a:pPr>
            <a:r>
              <a:rPr lang="en-US" sz="1000" dirty="0">
                <a:solidFill>
                  <a:srgbClr val="003294"/>
                </a:solidFill>
                <a:latin typeface="Arial"/>
              </a:rPr>
              <a:t>Poor positioning or functionality</a:t>
            </a:r>
            <a:endParaRPr lang="en-GB" sz="1000" dirty="0">
              <a:solidFill>
                <a:srgbClr val="003294"/>
              </a:solidFill>
              <a:latin typeface="Arial"/>
            </a:endParaRPr>
          </a:p>
        </p:txBody>
      </p:sp>
      <p:sp>
        <p:nvSpPr>
          <p:cNvPr id="29" name="TextBox 28">
            <a:extLst>
              <a:ext uri="{FF2B5EF4-FFF2-40B4-BE49-F238E27FC236}">
                <a16:creationId xmlns:a16="http://schemas.microsoft.com/office/drawing/2014/main" id="{525618A0-AC1F-4EC1-BF7E-86D5555AFBB8}"/>
              </a:ext>
            </a:extLst>
          </p:cNvPr>
          <p:cNvSpPr txBox="1"/>
          <p:nvPr/>
        </p:nvSpPr>
        <p:spPr>
          <a:xfrm>
            <a:off x="2609928" y="1330326"/>
            <a:ext cx="1431206" cy="1231106"/>
          </a:xfrm>
          <a:prstGeom prst="rect">
            <a:avLst/>
          </a:prstGeom>
          <a:solidFill>
            <a:schemeClr val="bg1">
              <a:lumMod val="95000"/>
            </a:schemeClr>
          </a:solidFill>
        </p:spPr>
        <p:txBody>
          <a:bodyPr wrap="square" lIns="0" tIns="0" rIns="0" bIns="0" rtlCol="0">
            <a:spAutoFit/>
          </a:bodyPr>
          <a:lstStyle/>
          <a:p>
            <a:pPr defTabSz="914395">
              <a:defRPr/>
            </a:pPr>
            <a:r>
              <a:rPr lang="en-US" sz="1000" dirty="0">
                <a:solidFill>
                  <a:srgbClr val="003294"/>
                </a:solidFill>
                <a:latin typeface="Arial"/>
              </a:rPr>
              <a:t>The services includes-</a:t>
            </a:r>
          </a:p>
          <a:p>
            <a:pPr marL="171448" indent="-171448" defTabSz="914395">
              <a:buFont typeface="Arial" panose="020B0604020202020204" pitchFamily="34" charset="0"/>
              <a:buChar char="•"/>
              <a:defRPr/>
            </a:pPr>
            <a:r>
              <a:rPr lang="en-US" sz="1000" dirty="0">
                <a:solidFill>
                  <a:srgbClr val="003294"/>
                </a:solidFill>
                <a:latin typeface="Arial"/>
              </a:rPr>
              <a:t>Crowding of teeth</a:t>
            </a:r>
          </a:p>
          <a:p>
            <a:pPr marL="171448" indent="-171448" defTabSz="914395">
              <a:buFont typeface="Arial" panose="020B0604020202020204" pitchFamily="34" charset="0"/>
              <a:buChar char="•"/>
              <a:defRPr/>
            </a:pPr>
            <a:r>
              <a:rPr lang="en-US" sz="1000" dirty="0">
                <a:solidFill>
                  <a:srgbClr val="003294"/>
                </a:solidFill>
                <a:latin typeface="Arial"/>
              </a:rPr>
              <a:t>Gaps between teeth</a:t>
            </a:r>
          </a:p>
          <a:p>
            <a:pPr marL="171448" indent="-171448" defTabSz="914395">
              <a:buFont typeface="Arial" panose="020B0604020202020204" pitchFamily="34" charset="0"/>
              <a:buChar char="•"/>
              <a:defRPr/>
            </a:pPr>
            <a:r>
              <a:rPr lang="en-US" sz="1000" dirty="0">
                <a:solidFill>
                  <a:srgbClr val="003294"/>
                </a:solidFill>
                <a:latin typeface="Arial"/>
              </a:rPr>
              <a:t>Protruding upper teeth</a:t>
            </a:r>
          </a:p>
          <a:p>
            <a:pPr marL="171448" indent="-171448" defTabSz="914395">
              <a:buFont typeface="Arial" panose="020B0604020202020204" pitchFamily="34" charset="0"/>
              <a:buChar char="•"/>
              <a:defRPr/>
            </a:pPr>
            <a:r>
              <a:rPr lang="en-US" sz="1000" dirty="0">
                <a:solidFill>
                  <a:srgbClr val="003294"/>
                </a:solidFill>
                <a:latin typeface="Arial"/>
              </a:rPr>
              <a:t>Under bite or lower protrusion</a:t>
            </a:r>
          </a:p>
          <a:p>
            <a:pPr marL="171448" indent="-171448" defTabSz="914395">
              <a:buFont typeface="Arial" panose="020B0604020202020204" pitchFamily="34" charset="0"/>
              <a:buChar char="•"/>
              <a:defRPr/>
            </a:pPr>
            <a:r>
              <a:rPr lang="en-US" sz="1000" dirty="0">
                <a:solidFill>
                  <a:srgbClr val="003294"/>
                </a:solidFill>
                <a:latin typeface="Arial"/>
              </a:rPr>
              <a:t>Open or cross bite</a:t>
            </a:r>
          </a:p>
          <a:p>
            <a:pPr marL="171448" indent="-171448" defTabSz="914395">
              <a:buFont typeface="Arial" panose="020B0604020202020204" pitchFamily="34" charset="0"/>
              <a:buChar char="•"/>
              <a:defRPr/>
            </a:pPr>
            <a:r>
              <a:rPr lang="en-US" sz="1000" dirty="0">
                <a:solidFill>
                  <a:srgbClr val="003294"/>
                </a:solidFill>
                <a:latin typeface="Arial"/>
              </a:rPr>
              <a:t>Deep overbite</a:t>
            </a:r>
            <a:endParaRPr lang="en-GB" sz="1000" dirty="0">
              <a:solidFill>
                <a:srgbClr val="003294"/>
              </a:solidFill>
              <a:latin typeface="Arial"/>
            </a:endParaRPr>
          </a:p>
        </p:txBody>
      </p:sp>
      <p:cxnSp>
        <p:nvCxnSpPr>
          <p:cNvPr id="6" name="Straight Connector 5">
            <a:extLst>
              <a:ext uri="{FF2B5EF4-FFF2-40B4-BE49-F238E27FC236}">
                <a16:creationId xmlns:a16="http://schemas.microsoft.com/office/drawing/2014/main" id="{6EF07C72-D58C-4E73-AEDD-FFE5B4FE2A7F}"/>
              </a:ext>
            </a:extLst>
          </p:cNvPr>
          <p:cNvCxnSpPr>
            <a:cxnSpLocks/>
          </p:cNvCxnSpPr>
          <p:nvPr/>
        </p:nvCxnSpPr>
        <p:spPr>
          <a:xfrm>
            <a:off x="715837"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1E8E45B-4DFF-424C-84CE-9B153B54AEF9}"/>
              </a:ext>
            </a:extLst>
          </p:cNvPr>
          <p:cNvSpPr/>
          <p:nvPr/>
        </p:nvSpPr>
        <p:spPr>
          <a:xfrm>
            <a:off x="5765428" y="2607395"/>
            <a:ext cx="1701070" cy="2360917"/>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00338D"/>
                </a:solidFill>
                <a:latin typeface="KPMG Bold"/>
              </a:rPr>
              <a:t>04</a:t>
            </a:r>
          </a:p>
          <a:p>
            <a:pPr defTabSz="914395">
              <a:lnSpc>
                <a:spcPct val="70000"/>
              </a:lnSpc>
              <a:spcAft>
                <a:spcPts val="600"/>
              </a:spcAft>
              <a:defRPr/>
            </a:pPr>
            <a:r>
              <a:rPr lang="en-GB" sz="2400" dirty="0">
                <a:solidFill>
                  <a:srgbClr val="00338D"/>
                </a:solidFill>
                <a:latin typeface="KPMG Bold"/>
              </a:rPr>
              <a:t> Wisdom teeth &amp; extractions</a:t>
            </a:r>
          </a:p>
          <a:p>
            <a:pPr defTabSz="914395">
              <a:defRPr/>
            </a:pPr>
            <a:endParaRPr lang="en-US" sz="1000" dirty="0">
              <a:solidFill>
                <a:srgbClr val="00338D"/>
              </a:solidFill>
              <a:latin typeface="Arial"/>
            </a:endParaRPr>
          </a:p>
          <a:p>
            <a:pPr defTabSz="914395">
              <a:defRPr/>
            </a:pPr>
            <a:r>
              <a:rPr lang="en-US" sz="1000" dirty="0">
                <a:solidFill>
                  <a:srgbClr val="00338D"/>
                </a:solidFill>
                <a:latin typeface="Arial"/>
              </a:rPr>
              <a:t>Tooth Extraction</a:t>
            </a:r>
          </a:p>
          <a:p>
            <a:pPr defTabSz="914395">
              <a:defRPr/>
            </a:pPr>
            <a:r>
              <a:rPr lang="en-US" sz="1000" dirty="0">
                <a:solidFill>
                  <a:srgbClr val="00338D"/>
                </a:solidFill>
                <a:latin typeface="Arial"/>
              </a:rPr>
              <a:t>Wisdom Teeth Removal</a:t>
            </a:r>
          </a:p>
          <a:p>
            <a:pPr defTabSz="914395">
              <a:lnSpc>
                <a:spcPct val="110000"/>
              </a:lnSpc>
              <a:spcAft>
                <a:spcPts val="600"/>
              </a:spcAft>
              <a:defRPr/>
            </a:pPr>
            <a:r>
              <a:rPr lang="en-GB" sz="1000" dirty="0">
                <a:solidFill>
                  <a:srgbClr val="00338D"/>
                </a:solidFill>
                <a:latin typeface="Arial"/>
              </a:rPr>
              <a:t>. </a:t>
            </a:r>
          </a:p>
        </p:txBody>
      </p:sp>
      <p:grpSp>
        <p:nvGrpSpPr>
          <p:cNvPr id="9" name="Group 8">
            <a:extLst>
              <a:ext uri="{FF2B5EF4-FFF2-40B4-BE49-F238E27FC236}">
                <a16:creationId xmlns:a16="http://schemas.microsoft.com/office/drawing/2014/main" id="{25F283A5-8327-4B1C-8DE2-E22A2C39E9F3}"/>
              </a:ext>
            </a:extLst>
          </p:cNvPr>
          <p:cNvGrpSpPr/>
          <p:nvPr/>
        </p:nvGrpSpPr>
        <p:grpSpPr>
          <a:xfrm>
            <a:off x="662498" y="2058295"/>
            <a:ext cx="1702156" cy="2907067"/>
            <a:chOff x="998398" y="2302063"/>
            <a:chExt cx="2550430" cy="2251634"/>
          </a:xfrm>
        </p:grpSpPr>
        <p:sp>
          <p:nvSpPr>
            <p:cNvPr id="20" name="Rectangle 19">
              <a:extLst>
                <a:ext uri="{FF2B5EF4-FFF2-40B4-BE49-F238E27FC236}">
                  <a16:creationId xmlns:a16="http://schemas.microsoft.com/office/drawing/2014/main" id="{3B8B6847-42ED-4C06-865A-C244D4388974}"/>
                </a:ext>
              </a:extLst>
            </p:cNvPr>
            <p:cNvSpPr/>
            <p:nvPr/>
          </p:nvSpPr>
          <p:spPr>
            <a:xfrm>
              <a:off x="998398" y="2302063"/>
              <a:ext cx="2548801" cy="18286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1</a:t>
              </a:r>
            </a:p>
            <a:p>
              <a:pPr defTabSz="914395">
                <a:lnSpc>
                  <a:spcPct val="70000"/>
                </a:lnSpc>
                <a:spcAft>
                  <a:spcPts val="600"/>
                </a:spcAft>
                <a:defRPr/>
              </a:pPr>
              <a:r>
                <a:rPr lang="en-GB" sz="2400" dirty="0">
                  <a:solidFill>
                    <a:srgbClr val="FFFFFF"/>
                  </a:solidFill>
                  <a:latin typeface="KPMG Bold"/>
                </a:rPr>
                <a:t>General and Preventative</a:t>
              </a: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Dental Check-ups</a:t>
              </a:r>
            </a:p>
            <a:p>
              <a:pPr defTabSz="914395">
                <a:defRPr/>
              </a:pPr>
              <a:r>
                <a:rPr lang="en-US" sz="1000" dirty="0">
                  <a:solidFill>
                    <a:srgbClr val="FFFFFF"/>
                  </a:solidFill>
                  <a:latin typeface="Arial"/>
                </a:rPr>
                <a:t>Gum Disease Treatment</a:t>
              </a:r>
            </a:p>
            <a:p>
              <a:pPr defTabSz="914395">
                <a:defRPr/>
              </a:pPr>
              <a:r>
                <a:rPr lang="en-US" sz="1000" dirty="0">
                  <a:solidFill>
                    <a:srgbClr val="FFFFFF"/>
                  </a:solidFill>
                  <a:latin typeface="Arial"/>
                </a:rPr>
                <a:t>Teeth Cleaning</a:t>
              </a:r>
              <a:r>
                <a:rPr lang="en-GB" sz="1000" dirty="0">
                  <a:solidFill>
                    <a:srgbClr val="FFFFFF"/>
                  </a:solidFill>
                  <a:latin typeface="Arial"/>
                </a:rPr>
                <a:t> </a:t>
              </a:r>
            </a:p>
          </p:txBody>
        </p:sp>
        <p:sp>
          <p:nvSpPr>
            <p:cNvPr id="21" name="Isosceles Triangle 20">
              <a:extLst>
                <a:ext uri="{FF2B5EF4-FFF2-40B4-BE49-F238E27FC236}">
                  <a16:creationId xmlns:a16="http://schemas.microsoft.com/office/drawing/2014/main" id="{291E154B-4173-40A5-A9D7-48478BBC9CC0}"/>
                </a:ext>
              </a:extLst>
            </p:cNvPr>
            <p:cNvSpPr/>
            <p:nvPr/>
          </p:nvSpPr>
          <p:spPr>
            <a:xfrm rot="10800000" flipH="1">
              <a:off x="3125813" y="4130682"/>
              <a:ext cx="423015" cy="423015"/>
            </a:xfrm>
            <a:prstGeom prst="triangle">
              <a:avLst>
                <a:gd name="adj"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grpSp>
        <p:nvGrpSpPr>
          <p:cNvPr id="10" name="Group 9">
            <a:extLst>
              <a:ext uri="{FF2B5EF4-FFF2-40B4-BE49-F238E27FC236}">
                <a16:creationId xmlns:a16="http://schemas.microsoft.com/office/drawing/2014/main" id="{EE3C91DD-7EC3-405E-9945-183C07864AFF}"/>
              </a:ext>
            </a:extLst>
          </p:cNvPr>
          <p:cNvGrpSpPr/>
          <p:nvPr/>
        </p:nvGrpSpPr>
        <p:grpSpPr>
          <a:xfrm>
            <a:off x="2363566" y="2068133"/>
            <a:ext cx="5100484" cy="2900179"/>
            <a:chOff x="3547199" y="2309683"/>
            <a:chExt cx="7642322" cy="2246299"/>
          </a:xfrm>
        </p:grpSpPr>
        <p:sp>
          <p:nvSpPr>
            <p:cNvPr id="17" name="Rectangle 16">
              <a:extLst>
                <a:ext uri="{FF2B5EF4-FFF2-40B4-BE49-F238E27FC236}">
                  <a16:creationId xmlns:a16="http://schemas.microsoft.com/office/drawing/2014/main" id="{DC66448A-555E-449B-A483-7B48B37E060D}"/>
                </a:ext>
              </a:extLst>
            </p:cNvPr>
            <p:cNvSpPr/>
            <p:nvPr/>
          </p:nvSpPr>
          <p:spPr>
            <a:xfrm>
              <a:off x="3547199" y="2727362"/>
              <a:ext cx="2548801" cy="18286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2</a:t>
              </a:r>
            </a:p>
            <a:p>
              <a:pPr defTabSz="914395">
                <a:lnSpc>
                  <a:spcPct val="70000"/>
                </a:lnSpc>
                <a:spcAft>
                  <a:spcPts val="600"/>
                </a:spcAft>
                <a:defRPr/>
              </a:pPr>
              <a:r>
                <a:rPr lang="en-GB" sz="2400" dirty="0">
                  <a:solidFill>
                    <a:srgbClr val="FFFFFF"/>
                  </a:solidFill>
                  <a:latin typeface="KPMG Bold"/>
                </a:rPr>
                <a:t>Orthodontics and Dentures</a:t>
              </a:r>
              <a:endParaRPr lang="en-GB" sz="1000" dirty="0">
                <a:solidFill>
                  <a:srgbClr val="FFFFFF"/>
                </a:solidFill>
                <a:latin typeface="Arial"/>
              </a:endParaRP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Implant</a:t>
              </a:r>
            </a:p>
            <a:p>
              <a:pPr defTabSz="914395">
                <a:defRPr/>
              </a:pPr>
              <a:r>
                <a:rPr lang="en-US" sz="1000" dirty="0">
                  <a:solidFill>
                    <a:srgbClr val="FFFFFF"/>
                  </a:solidFill>
                  <a:latin typeface="Arial"/>
                </a:rPr>
                <a:t>Dental and facial irregularities </a:t>
              </a:r>
            </a:p>
            <a:p>
              <a:pPr defTabSz="914395">
                <a:defRPr/>
              </a:pPr>
              <a:endParaRPr lang="en-GB" sz="1000" dirty="0">
                <a:solidFill>
                  <a:srgbClr val="FFFFFF"/>
                </a:solidFill>
                <a:latin typeface="Arial"/>
              </a:endParaRPr>
            </a:p>
          </p:txBody>
        </p:sp>
        <p:sp>
          <p:nvSpPr>
            <p:cNvPr id="18" name="Isosceles Triangle 17">
              <a:extLst>
                <a:ext uri="{FF2B5EF4-FFF2-40B4-BE49-F238E27FC236}">
                  <a16:creationId xmlns:a16="http://schemas.microsoft.com/office/drawing/2014/main" id="{5EE55EFE-DE70-4C5F-877F-81ACE6384314}"/>
                </a:ext>
              </a:extLst>
            </p:cNvPr>
            <p:cNvSpPr/>
            <p:nvPr/>
          </p:nvSpPr>
          <p:spPr>
            <a:xfrm rot="10800000" flipH="1" flipV="1">
              <a:off x="5672985" y="2309683"/>
              <a:ext cx="423015" cy="423015"/>
            </a:xfrm>
            <a:prstGeom prst="triangle">
              <a:avLst>
                <a:gd name="adj" fmla="val 1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sp>
          <p:nvSpPr>
            <p:cNvPr id="19" name="Isosceles Triangle 18">
              <a:extLst>
                <a:ext uri="{FF2B5EF4-FFF2-40B4-BE49-F238E27FC236}">
                  <a16:creationId xmlns:a16="http://schemas.microsoft.com/office/drawing/2014/main" id="{1B7FB22B-BA2A-44BA-A409-351D729827B2}"/>
                </a:ext>
              </a:extLst>
            </p:cNvPr>
            <p:cNvSpPr/>
            <p:nvPr/>
          </p:nvSpPr>
          <p:spPr>
            <a:xfrm rot="10800000" flipH="1" flipV="1">
              <a:off x="10766506" y="2309683"/>
              <a:ext cx="423015" cy="423015"/>
            </a:xfrm>
            <a:prstGeom prst="triangle">
              <a:avLst>
                <a:gd name="adj" fmla="val 100000"/>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grpSp>
        <p:nvGrpSpPr>
          <p:cNvPr id="11" name="Group 10">
            <a:extLst>
              <a:ext uri="{FF2B5EF4-FFF2-40B4-BE49-F238E27FC236}">
                <a16:creationId xmlns:a16="http://schemas.microsoft.com/office/drawing/2014/main" id="{18D66D47-7CD7-4CF3-837B-749EA821A04A}"/>
              </a:ext>
            </a:extLst>
          </p:cNvPr>
          <p:cNvGrpSpPr/>
          <p:nvPr/>
        </p:nvGrpSpPr>
        <p:grpSpPr>
          <a:xfrm>
            <a:off x="4064359" y="2058295"/>
            <a:ext cx="1701115" cy="2907067"/>
            <a:chOff x="6095585" y="2302063"/>
            <a:chExt cx="2548869" cy="2251634"/>
          </a:xfrm>
        </p:grpSpPr>
        <p:sp>
          <p:nvSpPr>
            <p:cNvPr id="14" name="Rectangle 13">
              <a:extLst>
                <a:ext uri="{FF2B5EF4-FFF2-40B4-BE49-F238E27FC236}">
                  <a16:creationId xmlns:a16="http://schemas.microsoft.com/office/drawing/2014/main" id="{12BC44E5-91BB-443F-8B1C-E1D4470D5606}"/>
                </a:ext>
              </a:extLst>
            </p:cNvPr>
            <p:cNvSpPr/>
            <p:nvPr/>
          </p:nvSpPr>
          <p:spPr>
            <a:xfrm>
              <a:off x="6095585" y="2302063"/>
              <a:ext cx="2548801" cy="18286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3</a:t>
              </a:r>
            </a:p>
            <a:p>
              <a:pPr defTabSz="914395">
                <a:lnSpc>
                  <a:spcPct val="70000"/>
                </a:lnSpc>
                <a:spcAft>
                  <a:spcPts val="600"/>
                </a:spcAft>
                <a:defRPr/>
              </a:pPr>
              <a:r>
                <a:rPr lang="en-GB" sz="2400" dirty="0">
                  <a:solidFill>
                    <a:srgbClr val="FFFFFF"/>
                  </a:solidFill>
                  <a:latin typeface="KPMG Bold"/>
                </a:rPr>
                <a:t>Restorative</a:t>
              </a:r>
            </a:p>
            <a:p>
              <a:pPr defTabSz="914395">
                <a:defRPr/>
              </a:pPr>
              <a:endParaRPr lang="en-GB" sz="1000" dirty="0">
                <a:solidFill>
                  <a:srgbClr val="FFFFFF"/>
                </a:solidFill>
                <a:latin typeface="Arial"/>
              </a:endParaRPr>
            </a:p>
            <a:p>
              <a:pPr defTabSz="914395">
                <a:defRPr/>
              </a:pPr>
              <a:r>
                <a:rPr lang="en-GB" sz="1000" dirty="0">
                  <a:solidFill>
                    <a:srgbClr val="FFFFFF"/>
                  </a:solidFill>
                  <a:latin typeface="Arial"/>
                </a:rPr>
                <a:t>Root Canal Treatment</a:t>
              </a:r>
            </a:p>
            <a:p>
              <a:pPr defTabSz="914395">
                <a:defRPr/>
              </a:pPr>
              <a:r>
                <a:rPr lang="en-GB" sz="1000" dirty="0">
                  <a:solidFill>
                    <a:srgbClr val="FFFFFF"/>
                  </a:solidFill>
                  <a:latin typeface="Arial"/>
                </a:rPr>
                <a:t>Dental Implants</a:t>
              </a:r>
            </a:p>
            <a:p>
              <a:pPr defTabSz="914395">
                <a:defRPr/>
              </a:pPr>
              <a:r>
                <a:rPr lang="en-GB" sz="1000" dirty="0">
                  <a:solidFill>
                    <a:srgbClr val="FFFFFF"/>
                  </a:solidFill>
                  <a:latin typeface="Arial"/>
                </a:rPr>
                <a:t>Invisalign</a:t>
              </a:r>
            </a:p>
            <a:p>
              <a:pPr defTabSz="914395">
                <a:defRPr/>
              </a:pPr>
              <a:r>
                <a:rPr lang="en-GB" sz="1000" dirty="0">
                  <a:solidFill>
                    <a:srgbClr val="FFFFFF"/>
                  </a:solidFill>
                  <a:latin typeface="Arial"/>
                </a:rPr>
                <a:t>Prosthodontics</a:t>
              </a:r>
            </a:p>
            <a:p>
              <a:pPr defTabSz="914395">
                <a:defRPr/>
              </a:pPr>
              <a:r>
                <a:rPr lang="en-GB" sz="1000" dirty="0">
                  <a:solidFill>
                    <a:srgbClr val="FFFFFF"/>
                  </a:solidFill>
                  <a:latin typeface="Arial"/>
                </a:rPr>
                <a:t>Periodontics</a:t>
              </a:r>
            </a:p>
          </p:txBody>
        </p:sp>
        <p:sp>
          <p:nvSpPr>
            <p:cNvPr id="15" name="Isosceles Triangle 14">
              <a:extLst>
                <a:ext uri="{FF2B5EF4-FFF2-40B4-BE49-F238E27FC236}">
                  <a16:creationId xmlns:a16="http://schemas.microsoft.com/office/drawing/2014/main" id="{F258D223-F3BE-426C-B94C-14F667B08676}"/>
                </a:ext>
              </a:extLst>
            </p:cNvPr>
            <p:cNvSpPr/>
            <p:nvPr/>
          </p:nvSpPr>
          <p:spPr>
            <a:xfrm rot="10800000" flipH="1">
              <a:off x="8221439" y="4130682"/>
              <a:ext cx="423015" cy="423015"/>
            </a:xfrm>
            <a:prstGeom prst="triangle">
              <a:avLst>
                <a:gd name="adj" fmla="val 100000"/>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sp>
        <p:nvSpPr>
          <p:cNvPr id="12" name="Rectangle 11">
            <a:extLst>
              <a:ext uri="{FF2B5EF4-FFF2-40B4-BE49-F238E27FC236}">
                <a16:creationId xmlns:a16="http://schemas.microsoft.com/office/drawing/2014/main" id="{8375BFE2-358D-48E6-9257-A4ADBC90806E}"/>
              </a:ext>
            </a:extLst>
          </p:cNvPr>
          <p:cNvSpPr/>
          <p:nvPr/>
        </p:nvSpPr>
        <p:spPr>
          <a:xfrm>
            <a:off x="7465135" y="2068133"/>
            <a:ext cx="1701070" cy="236091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5</a:t>
            </a:r>
          </a:p>
          <a:p>
            <a:pPr defTabSz="914395">
              <a:lnSpc>
                <a:spcPct val="70000"/>
              </a:lnSpc>
              <a:spcAft>
                <a:spcPts val="600"/>
              </a:spcAft>
              <a:defRPr/>
            </a:pPr>
            <a:r>
              <a:rPr lang="en-GB" sz="2400" dirty="0">
                <a:solidFill>
                  <a:srgbClr val="FFFFFF"/>
                </a:solidFill>
                <a:latin typeface="KPMG Bold"/>
              </a:rPr>
              <a:t>Cosmetic</a:t>
            </a: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Cosmetic Dentistry</a:t>
            </a:r>
          </a:p>
          <a:p>
            <a:pPr defTabSz="914395">
              <a:defRPr/>
            </a:pPr>
            <a:r>
              <a:rPr lang="en-US" sz="1000" dirty="0">
                <a:solidFill>
                  <a:srgbClr val="FFFFFF"/>
                </a:solidFill>
                <a:latin typeface="Arial"/>
              </a:rPr>
              <a:t>Veneers</a:t>
            </a:r>
          </a:p>
          <a:p>
            <a:pPr defTabSz="914395">
              <a:defRPr/>
            </a:pPr>
            <a:r>
              <a:rPr lang="en-US" sz="1000" dirty="0">
                <a:solidFill>
                  <a:srgbClr val="FFFFFF"/>
                </a:solidFill>
                <a:latin typeface="Arial"/>
              </a:rPr>
              <a:t>Dental Crowns</a:t>
            </a:r>
          </a:p>
          <a:p>
            <a:pPr defTabSz="914395">
              <a:defRPr/>
            </a:pPr>
            <a:r>
              <a:rPr lang="en-US" sz="1000" dirty="0" err="1">
                <a:solidFill>
                  <a:srgbClr val="FFFFFF"/>
                </a:solidFill>
                <a:latin typeface="Arial"/>
              </a:rPr>
              <a:t>SmileStyler</a:t>
            </a:r>
            <a:r>
              <a:rPr lang="en-US" sz="1000" dirty="0">
                <a:solidFill>
                  <a:srgbClr val="FFFFFF"/>
                </a:solidFill>
                <a:latin typeface="Arial"/>
              </a:rPr>
              <a:t> Clear Aligners</a:t>
            </a:r>
            <a:r>
              <a:rPr lang="en-GB" sz="1000" dirty="0">
                <a:solidFill>
                  <a:srgbClr val="FFFFFF"/>
                </a:solidFill>
                <a:latin typeface="Arial"/>
              </a:rPr>
              <a:t> </a:t>
            </a:r>
          </a:p>
        </p:txBody>
      </p:sp>
      <p:cxnSp>
        <p:nvCxnSpPr>
          <p:cNvPr id="24" name="Straight Connector 23">
            <a:extLst>
              <a:ext uri="{FF2B5EF4-FFF2-40B4-BE49-F238E27FC236}">
                <a16:creationId xmlns:a16="http://schemas.microsoft.com/office/drawing/2014/main" id="{9A7786F6-A7BA-4552-B65D-03553B4B9266}"/>
              </a:ext>
            </a:extLst>
          </p:cNvPr>
          <p:cNvCxnSpPr>
            <a:cxnSpLocks/>
          </p:cNvCxnSpPr>
          <p:nvPr/>
        </p:nvCxnSpPr>
        <p:spPr>
          <a:xfrm>
            <a:off x="4177609"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0852B97-2002-487A-AEFD-9986DB859F67}"/>
              </a:ext>
            </a:extLst>
          </p:cNvPr>
          <p:cNvSpPr txBox="1"/>
          <p:nvPr/>
        </p:nvSpPr>
        <p:spPr>
          <a:xfrm>
            <a:off x="7715331"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rovide solution to </a:t>
            </a:r>
          </a:p>
          <a:p>
            <a:pPr marL="171448" indent="-171448" defTabSz="914395">
              <a:buFont typeface="Arial" panose="020B0604020202020204" pitchFamily="34" charset="0"/>
              <a:buChar char="•"/>
              <a:defRPr/>
            </a:pPr>
            <a:r>
              <a:rPr lang="en-US" sz="1000" dirty="0">
                <a:solidFill>
                  <a:srgbClr val="003294"/>
                </a:solidFill>
                <a:latin typeface="Arial"/>
              </a:rPr>
              <a:t>Crooked, oddly shaped or misaligned teeth</a:t>
            </a:r>
          </a:p>
          <a:p>
            <a:pPr marL="171448" indent="-171448" defTabSz="914395">
              <a:buFont typeface="Arial" panose="020B0604020202020204" pitchFamily="34" charset="0"/>
              <a:buChar char="•"/>
              <a:defRPr/>
            </a:pPr>
            <a:r>
              <a:rPr lang="en-US" sz="1000" dirty="0">
                <a:solidFill>
                  <a:srgbClr val="003294"/>
                </a:solidFill>
                <a:latin typeface="Arial"/>
              </a:rPr>
              <a:t>Crowded teeth</a:t>
            </a:r>
          </a:p>
          <a:p>
            <a:pPr marL="171448" indent="-171448" defTabSz="914395">
              <a:buFont typeface="Arial" panose="020B0604020202020204" pitchFamily="34" charset="0"/>
              <a:buChar char="•"/>
              <a:defRPr/>
            </a:pPr>
            <a:r>
              <a:rPr lang="en-US" sz="1000" dirty="0">
                <a:solidFill>
                  <a:srgbClr val="003294"/>
                </a:solidFill>
                <a:latin typeface="Arial"/>
              </a:rPr>
              <a:t>Broken, chipped or worn teeth</a:t>
            </a:r>
          </a:p>
          <a:p>
            <a:pPr marL="171448" indent="-171448" defTabSz="914395">
              <a:buFont typeface="Arial" panose="020B0604020202020204" pitchFamily="34" charset="0"/>
              <a:buChar char="•"/>
              <a:defRPr/>
            </a:pPr>
            <a:r>
              <a:rPr lang="en-US" sz="1000" dirty="0">
                <a:solidFill>
                  <a:srgbClr val="003294"/>
                </a:solidFill>
                <a:latin typeface="Arial"/>
              </a:rPr>
              <a:t>Gaps between teeth</a:t>
            </a:r>
          </a:p>
          <a:p>
            <a:pPr marL="171448" indent="-171448" defTabSz="914395">
              <a:buFont typeface="Arial" panose="020B0604020202020204" pitchFamily="34" charset="0"/>
              <a:buChar char="•"/>
              <a:defRPr/>
            </a:pPr>
            <a:r>
              <a:rPr lang="en-US" sz="1000" dirty="0">
                <a:solidFill>
                  <a:srgbClr val="003294"/>
                </a:solidFill>
                <a:latin typeface="Arial"/>
              </a:rPr>
              <a:t>Permanently stained or discolored teeth</a:t>
            </a:r>
            <a:endParaRPr lang="en-GB" sz="1000" dirty="0">
              <a:solidFill>
                <a:srgbClr val="003294"/>
              </a:solidFill>
              <a:latin typeface="Arial"/>
            </a:endParaRPr>
          </a:p>
        </p:txBody>
      </p:sp>
      <p:cxnSp>
        <p:nvCxnSpPr>
          <p:cNvPr id="27" name="Straight Connector 26">
            <a:extLst>
              <a:ext uri="{FF2B5EF4-FFF2-40B4-BE49-F238E27FC236}">
                <a16:creationId xmlns:a16="http://schemas.microsoft.com/office/drawing/2014/main" id="{DC62B5B9-8BBF-4E4B-AE68-6D9056533DEF}"/>
              </a:ext>
            </a:extLst>
          </p:cNvPr>
          <p:cNvCxnSpPr>
            <a:cxnSpLocks/>
          </p:cNvCxnSpPr>
          <p:nvPr/>
        </p:nvCxnSpPr>
        <p:spPr>
          <a:xfrm>
            <a:off x="7592057"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5253A0-C9B1-40DB-AB4A-4849F002480C}"/>
              </a:ext>
            </a:extLst>
          </p:cNvPr>
          <p:cNvCxnSpPr>
            <a:cxnSpLocks/>
          </p:cNvCxnSpPr>
          <p:nvPr/>
        </p:nvCxnSpPr>
        <p:spPr>
          <a:xfrm>
            <a:off x="2486654" y="1330325"/>
            <a:ext cx="0" cy="120179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E5596DD-0F6D-4F48-9D4A-29EDDC45C6C8}"/>
              </a:ext>
            </a:extLst>
          </p:cNvPr>
          <p:cNvCxnSpPr>
            <a:cxnSpLocks/>
          </p:cNvCxnSpPr>
          <p:nvPr/>
        </p:nvCxnSpPr>
        <p:spPr>
          <a:xfrm>
            <a:off x="5886888" y="1330325"/>
            <a:ext cx="0" cy="120179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5283865B-D7BB-49F0-AF2F-2B280C1F4239}"/>
              </a:ext>
            </a:extLst>
          </p:cNvPr>
          <p:cNvSpPr>
            <a:spLocks noGrp="1"/>
          </p:cNvSpPr>
          <p:nvPr>
            <p:ph type="title"/>
          </p:nvPr>
        </p:nvSpPr>
        <p:spPr>
          <a:xfrm>
            <a:off x="495300" y="431801"/>
            <a:ext cx="8915400" cy="533400"/>
          </a:xfrm>
        </p:spPr>
        <p:txBody>
          <a:bodyPr/>
          <a:lstStyle/>
          <a:p>
            <a:r>
              <a:rPr lang="en-US" dirty="0"/>
              <a:t>Services</a:t>
            </a:r>
          </a:p>
        </p:txBody>
      </p:sp>
      <p:sp>
        <p:nvSpPr>
          <p:cNvPr id="39" name="Rechteck 90">
            <a:extLst>
              <a:ext uri="{FF2B5EF4-FFF2-40B4-BE49-F238E27FC236}">
                <a16:creationId xmlns:a16="http://schemas.microsoft.com/office/drawing/2014/main" id="{22FE8879-FBF2-4E19-B36F-5EA635F8FBF4}"/>
              </a:ext>
            </a:extLst>
          </p:cNvPr>
          <p:cNvSpPr/>
          <p:nvPr/>
        </p:nvSpPr>
        <p:spPr>
          <a:xfrm>
            <a:off x="498952" y="911878"/>
            <a:ext cx="8926211"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defTabSz="914395">
              <a:spcAft>
                <a:spcPts val="600"/>
              </a:spcAft>
              <a:defRPr/>
            </a:pPr>
            <a:r>
              <a:rPr lang="en-US" sz="1000" b="1" i="1" dirty="0">
                <a:solidFill>
                  <a:srgbClr val="00338D"/>
                </a:solidFill>
                <a:latin typeface="Arial"/>
              </a:rPr>
              <a:t>{</a:t>
            </a:r>
            <a:r>
              <a:rPr lang="en-US" sz="1000" b="1" i="1" dirty="0" err="1">
                <a:solidFill>
                  <a:srgbClr val="00338D"/>
                </a:solidFill>
                <a:latin typeface="Arial"/>
              </a:rPr>
              <a:t>biz_summary</a:t>
            </a:r>
            <a:r>
              <a:rPr lang="en-US" sz="1000" b="1" i="1" dirty="0">
                <a:solidFill>
                  <a:srgbClr val="00338D"/>
                </a:solidFill>
                <a:latin typeface="Arial"/>
              </a:rPr>
              <a:t>}</a:t>
            </a:r>
          </a:p>
        </p:txBody>
      </p:sp>
      <p:sp>
        <p:nvSpPr>
          <p:cNvPr id="40" name="Text Placeholder 8">
            <a:extLst>
              <a:ext uri="{FF2B5EF4-FFF2-40B4-BE49-F238E27FC236}">
                <a16:creationId xmlns:a16="http://schemas.microsoft.com/office/drawing/2014/main" id="{6B022191-A0D7-41D2-A3F8-50D826297993}"/>
              </a:ext>
            </a:extLst>
          </p:cNvPr>
          <p:cNvSpPr>
            <a:spLocks noGrp="1"/>
          </p:cNvSpPr>
          <p:nvPr>
            <p:ph type="body" sz="quarter" idx="11"/>
          </p:nvPr>
        </p:nvSpPr>
        <p:spPr>
          <a:xfrm>
            <a:off x="488951" y="203863"/>
            <a:ext cx="8591450" cy="169200"/>
          </a:xfrm>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43" name="Rectangle 42">
            <a:extLst>
              <a:ext uri="{FF2B5EF4-FFF2-40B4-BE49-F238E27FC236}">
                <a16:creationId xmlns:a16="http://schemas.microsoft.com/office/drawing/2014/main" id="{FA922BF8-DB61-4B5B-87B5-49CDE477D4C5}"/>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defTabSz="914395">
              <a:defRPr/>
            </a:pPr>
            <a:r>
              <a:rPr lang="en-US" sz="600" dirty="0">
                <a:solidFill>
                  <a:srgbClr val="000000"/>
                </a:solidFill>
                <a:latin typeface="Arial"/>
              </a:rPr>
              <a:t>Source: {</a:t>
            </a:r>
            <a:r>
              <a:rPr lang="en-US" sz="600" dirty="0" err="1">
                <a:solidFill>
                  <a:srgbClr val="000000"/>
                </a:solidFill>
                <a:latin typeface="Arial"/>
              </a:rPr>
              <a:t>company_name</a:t>
            </a:r>
            <a:r>
              <a:rPr lang="en-US" sz="600" dirty="0">
                <a:solidFill>
                  <a:srgbClr val="000000"/>
                </a:solidFill>
                <a:latin typeface="Arial"/>
              </a:rPr>
              <a:t>}, Services, </a:t>
            </a:r>
            <a:r>
              <a:rPr lang="en-US" sz="600" dirty="0">
                <a:solidFill>
                  <a:srgbClr val="000000"/>
                </a:solidFill>
                <a:latin typeface="Arial"/>
                <a:hlinkClick r:id="rId2"/>
              </a:rPr>
              <a:t>Link</a:t>
            </a:r>
            <a:r>
              <a:rPr lang="en-US" sz="600" dirty="0">
                <a:solidFill>
                  <a:srgbClr val="000000"/>
                </a:solidFill>
                <a:latin typeface="Arial"/>
              </a:rPr>
              <a:t>; all accessed on {date}</a:t>
            </a:r>
          </a:p>
        </p:txBody>
      </p:sp>
    </p:spTree>
    <p:extLst>
      <p:ext uri="{BB962C8B-B14F-4D97-AF65-F5344CB8AC3E}">
        <p14:creationId xmlns:p14="http://schemas.microsoft.com/office/powerpoint/2010/main" val="23301194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ACEA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F38BC3B-625F-4F5B-BCDC-EA207EEBA9CD}"/>
              </a:ext>
            </a:extLst>
          </p:cNvPr>
          <p:cNvSpPr/>
          <p:nvPr/>
        </p:nvSpPr>
        <p:spPr>
          <a:xfrm rot="16200000">
            <a:off x="895511" y="76042"/>
            <a:ext cx="4905372" cy="6696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err="1">
              <a:solidFill>
                <a:srgbClr val="FFFFFF"/>
              </a:solidFill>
              <a:latin typeface="Arial"/>
            </a:endParaRPr>
          </a:p>
        </p:txBody>
      </p:sp>
      <p:sp>
        <p:nvSpPr>
          <p:cNvPr id="8" name="TextBox 7">
            <a:extLst>
              <a:ext uri="{FF2B5EF4-FFF2-40B4-BE49-F238E27FC236}">
                <a16:creationId xmlns:a16="http://schemas.microsoft.com/office/drawing/2014/main" id="{D4AEE53A-112B-4493-9B2A-3B18984DA54B}"/>
              </a:ext>
            </a:extLst>
          </p:cNvPr>
          <p:cNvSpPr txBox="1"/>
          <p:nvPr/>
        </p:nvSpPr>
        <p:spPr>
          <a:xfrm>
            <a:off x="808894" y="1330008"/>
            <a:ext cx="3624262" cy="581762"/>
          </a:xfrm>
          <a:prstGeom prst="rect">
            <a:avLst/>
          </a:prstGeom>
          <a:noFill/>
        </p:spPr>
        <p:txBody>
          <a:bodyPr wrap="square" lIns="0" tIns="0" rIns="0" bIns="0" rtlCol="0">
            <a:spAutoFit/>
          </a:bodyPr>
          <a:lstStyle/>
          <a:p>
            <a:pPr defTabSz="914395">
              <a:lnSpc>
                <a:spcPct val="70000"/>
              </a:lnSpc>
              <a:spcAft>
                <a:spcPts val="601"/>
              </a:spcAft>
              <a:defRPr/>
            </a:pPr>
            <a:r>
              <a:rPr lang="en-GB" sz="5401" dirty="0">
                <a:solidFill>
                  <a:srgbClr val="00338D"/>
                </a:solidFill>
                <a:latin typeface="KPMG Bold"/>
              </a:rPr>
              <a:t>Table of contents</a:t>
            </a:r>
          </a:p>
        </p:txBody>
      </p:sp>
      <p:graphicFrame>
        <p:nvGraphicFramePr>
          <p:cNvPr id="9" name="Table 24">
            <a:extLst>
              <a:ext uri="{FF2B5EF4-FFF2-40B4-BE49-F238E27FC236}">
                <a16:creationId xmlns:a16="http://schemas.microsoft.com/office/drawing/2014/main" id="{EEF06C82-97C1-449D-AEEF-5AF0AA406E28}"/>
              </a:ext>
            </a:extLst>
          </p:cNvPr>
          <p:cNvGraphicFramePr>
            <a:graphicFrameLocks/>
          </p:cNvGraphicFramePr>
          <p:nvPr>
            <p:extLst>
              <p:ext uri="{D42A27DB-BD31-4B8C-83A1-F6EECF244321}">
                <p14:modId xmlns:p14="http://schemas.microsoft.com/office/powerpoint/2010/main" val="1980757217"/>
              </p:ext>
            </p:extLst>
          </p:nvPr>
        </p:nvGraphicFramePr>
        <p:xfrm>
          <a:off x="808898" y="2138517"/>
          <a:ext cx="2403243" cy="2904461"/>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1857791330"/>
                    </a:ext>
                  </a:extLst>
                </a:gridCol>
                <a:gridCol w="1728000">
                  <a:extLst>
                    <a:ext uri="{9D8B030D-6E8A-4147-A177-3AD203B41FA5}">
                      <a16:colId xmlns:a16="http://schemas.microsoft.com/office/drawing/2014/main" val="620299569"/>
                    </a:ext>
                  </a:extLst>
                </a:gridCol>
                <a:gridCol w="387243">
                  <a:extLst>
                    <a:ext uri="{9D8B030D-6E8A-4147-A177-3AD203B41FA5}">
                      <a16:colId xmlns:a16="http://schemas.microsoft.com/office/drawing/2014/main" val="1172101712"/>
                    </a:ext>
                  </a:extLst>
                </a:gridCol>
              </a:tblGrid>
              <a:tr h="414923">
                <a:tc>
                  <a:txBody>
                    <a:bodyPr/>
                    <a:lstStyle/>
                    <a:p>
                      <a:pPr>
                        <a:lnSpc>
                          <a:spcPct val="70000"/>
                        </a:lnSpc>
                      </a:pPr>
                      <a:r>
                        <a:rPr lang="en-GB" sz="1800" b="1">
                          <a:solidFill>
                            <a:srgbClr val="00338D"/>
                          </a:solidFill>
                          <a:latin typeface="+mj-lt"/>
                        </a:rPr>
                        <a:t>01</a:t>
                      </a:r>
                    </a:p>
                  </a:txBody>
                  <a:tcPr marL="0"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a:solidFill>
                            <a:srgbClr val="00338D"/>
                          </a:solidFill>
                          <a:latin typeface="+mn-lt"/>
                        </a:rPr>
                        <a:t>Deal Overview</a:t>
                      </a:r>
                    </a:p>
                  </a:txBody>
                  <a:tcPr marL="0"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3</a:t>
                      </a:r>
                    </a:p>
                  </a:txBody>
                  <a:tcPr marL="80191"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216587"/>
                  </a:ext>
                </a:extLst>
              </a:tr>
              <a:tr h="414923">
                <a:tc>
                  <a:txBody>
                    <a:bodyPr/>
                    <a:lstStyle/>
                    <a:p>
                      <a:pPr>
                        <a:lnSpc>
                          <a:spcPct val="70000"/>
                        </a:lnSpc>
                      </a:pPr>
                      <a:r>
                        <a:rPr lang="en-GB" sz="1800" b="1" dirty="0">
                          <a:solidFill>
                            <a:srgbClr val="00338D"/>
                          </a:solidFill>
                          <a:latin typeface="+mj-lt"/>
                        </a:rPr>
                        <a:t>02</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Company Profile</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5</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0955894"/>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Company Overview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6</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045840"/>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Key personnel</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7</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883214"/>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Geographic presence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8</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8550306"/>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Business segments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9</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2090715"/>
                  </a:ext>
                </a:extLst>
              </a:tr>
              <a:tr h="414923">
                <a:tc>
                  <a:txBody>
                    <a:bodyPr/>
                    <a:lstStyle/>
                    <a:p>
                      <a:pPr>
                        <a:lnSpc>
                          <a:spcPct val="70000"/>
                        </a:lnSpc>
                      </a:pPr>
                      <a:r>
                        <a:rPr lang="en-GB" sz="1800" b="1" dirty="0">
                          <a:solidFill>
                            <a:srgbClr val="00338D"/>
                          </a:solidFill>
                          <a:latin typeface="+mj-lt"/>
                        </a:rPr>
                        <a:t>03</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Market Overview</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11</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3248779"/>
                  </a:ext>
                </a:extLst>
              </a:tr>
            </a:tbl>
          </a:graphicData>
        </a:graphic>
      </p:graphicFrame>
    </p:spTree>
    <p:extLst>
      <p:ext uri="{BB962C8B-B14F-4D97-AF65-F5344CB8AC3E}">
        <p14:creationId xmlns:p14="http://schemas.microsoft.com/office/powerpoint/2010/main" val="4119955572"/>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8875" y="2398604"/>
            <a:ext cx="4852275" cy="2367199"/>
          </a:xfrm>
        </p:spPr>
        <p:txBody>
          <a:bodyPr/>
          <a:lstStyle/>
          <a:p>
            <a:r>
              <a:rPr lang="en-GB" dirty="0"/>
              <a:t>Deal Overview</a:t>
            </a:r>
          </a:p>
        </p:txBody>
      </p:sp>
      <p:sp>
        <p:nvSpPr>
          <p:cNvPr id="8" name="Text Placeholder 7">
            <a:extLst>
              <a:ext uri="{FF2B5EF4-FFF2-40B4-BE49-F238E27FC236}">
                <a16:creationId xmlns:a16="http://schemas.microsoft.com/office/drawing/2014/main" id="{BB3F3353-A995-48FF-9605-594CAE6144A7}"/>
              </a:ext>
            </a:extLst>
          </p:cNvPr>
          <p:cNvSpPr>
            <a:spLocks noGrp="1"/>
          </p:cNvSpPr>
          <p:nvPr>
            <p:ph type="body" sz="quarter" idx="11"/>
          </p:nvPr>
        </p:nvSpPr>
        <p:spPr>
          <a:xfrm>
            <a:off x="728875" y="5516062"/>
            <a:ext cx="4852275" cy="215545"/>
          </a:xfrm>
        </p:spPr>
        <p:txBody>
          <a:bodyPr/>
          <a:lstStyle/>
          <a:p>
            <a:endParaRPr lang="en-GB"/>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a:xfrm>
            <a:off x="728878" y="1140070"/>
            <a:ext cx="879673" cy="812658"/>
          </a:xfrm>
        </p:spPr>
        <p:txBody>
          <a:bodyPr/>
          <a:lstStyle/>
          <a:p>
            <a:r>
              <a:rPr lang="en-GB" dirty="0"/>
              <a:t>01</a:t>
            </a:r>
          </a:p>
        </p:txBody>
      </p:sp>
    </p:spTree>
    <p:extLst>
      <p:ext uri="{BB962C8B-B14F-4D97-AF65-F5344CB8AC3E}">
        <p14:creationId xmlns:p14="http://schemas.microsoft.com/office/powerpoint/2010/main" val="444627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07FAA2F1-20DE-4360-9166-6CC7FBCA798F}"/>
              </a:ext>
            </a:extLst>
          </p:cNvPr>
          <p:cNvSpPr>
            <a:spLocks noGrp="1"/>
          </p:cNvSpPr>
          <p:nvPr>
            <p:ph type="title"/>
          </p:nvPr>
        </p:nvSpPr>
        <p:spPr/>
        <p:txBody>
          <a:bodyPr anchor="ctr"/>
          <a:lstStyle/>
          <a:p>
            <a:pPr lvl="0">
              <a:defRPr/>
            </a:pPr>
            <a:r>
              <a:rPr lang="en-GB" dirty="0">
                <a:solidFill>
                  <a:srgbClr val="00338D"/>
                </a:solidFill>
              </a:rPr>
              <a:t>Deal Overview</a:t>
            </a:r>
          </a:p>
        </p:txBody>
      </p:sp>
      <p:sp>
        <p:nvSpPr>
          <p:cNvPr id="5" name="Text Placeholder 8">
            <a:extLst>
              <a:ext uri="{FF2B5EF4-FFF2-40B4-BE49-F238E27FC236}">
                <a16:creationId xmlns:a16="http://schemas.microsoft.com/office/drawing/2014/main" id="{353550C0-E4DB-403A-8FE5-F0C77B44C4BF}"/>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2" name="Text Placeholder 1">
            <a:extLst>
              <a:ext uri="{FF2B5EF4-FFF2-40B4-BE49-F238E27FC236}">
                <a16:creationId xmlns:a16="http://schemas.microsoft.com/office/drawing/2014/main" id="{528600A3-C984-B10B-B91E-74AED9ECB971}"/>
              </a:ext>
            </a:extLst>
          </p:cNvPr>
          <p:cNvSpPr>
            <a:spLocks noGrp="1"/>
          </p:cNvSpPr>
          <p:nvPr>
            <p:ph type="body" sz="quarter" idx="12"/>
          </p:nvPr>
        </p:nvSpPr>
        <p:spPr>
          <a:xfrm>
            <a:off x="501651" y="886624"/>
            <a:ext cx="8928100" cy="344488"/>
          </a:xfrm>
        </p:spPr>
        <p:txBody>
          <a:bodyPr/>
          <a:lstStyle/>
          <a:p>
            <a:r>
              <a:rPr lang="en-US" i="1" dirty="0"/>
              <a:t>{</a:t>
            </a:r>
            <a:r>
              <a:rPr lang="en-US" i="1" dirty="0" err="1"/>
              <a:t>deal_overview</a:t>
            </a:r>
            <a:r>
              <a:rPr lang="en-US" i="1" dirty="0"/>
              <a:t>}</a:t>
            </a:r>
            <a:endParaRPr lang="en-SG" i="1" dirty="0"/>
          </a:p>
        </p:txBody>
      </p:sp>
      <p:sp>
        <p:nvSpPr>
          <p:cNvPr id="3" name="Text Placeholder 2">
            <a:extLst>
              <a:ext uri="{FF2B5EF4-FFF2-40B4-BE49-F238E27FC236}">
                <a16:creationId xmlns:a16="http://schemas.microsoft.com/office/drawing/2014/main" id="{0B361924-4870-C03B-1697-41B589D68EBA}"/>
              </a:ext>
            </a:extLst>
          </p:cNvPr>
          <p:cNvSpPr>
            <a:spLocks noGrp="1"/>
          </p:cNvSpPr>
          <p:nvPr>
            <p:ph type="body" sz="quarter" idx="13"/>
          </p:nvPr>
        </p:nvSpPr>
        <p:spPr>
          <a:xfrm>
            <a:off x="564410" y="2531414"/>
            <a:ext cx="1579562" cy="2935288"/>
          </a:xfrm>
        </p:spPr>
        <p:txBody>
          <a:bodyPr/>
          <a:lstStyle/>
          <a:p>
            <a:r>
              <a:rPr lang="en-US" b="0" dirty="0"/>
              <a:t>{</a:t>
            </a:r>
            <a:r>
              <a:rPr lang="en-US" b="0" dirty="0" err="1"/>
              <a:t>sit_overview</a:t>
            </a:r>
            <a:r>
              <a:rPr lang="en-US" b="0" dirty="0"/>
              <a:t>}</a:t>
            </a:r>
          </a:p>
          <a:p>
            <a:endParaRPr lang="en-US" b="0" dirty="0"/>
          </a:p>
          <a:p>
            <a:r>
              <a:rPr lang="en-US" b="0" dirty="0"/>
              <a:t>For further details, please refer to Appendix A</a:t>
            </a:r>
            <a:endParaRPr lang="en-SG" b="0" dirty="0"/>
          </a:p>
        </p:txBody>
      </p:sp>
      <p:sp>
        <p:nvSpPr>
          <p:cNvPr id="4" name="Text Placeholder 3">
            <a:extLst>
              <a:ext uri="{FF2B5EF4-FFF2-40B4-BE49-F238E27FC236}">
                <a16:creationId xmlns:a16="http://schemas.microsoft.com/office/drawing/2014/main" id="{AC8CFBF9-8A75-68C3-C377-CEEEFBF25773}"/>
              </a:ext>
            </a:extLst>
          </p:cNvPr>
          <p:cNvSpPr>
            <a:spLocks noGrp="1"/>
          </p:cNvSpPr>
          <p:nvPr>
            <p:ph type="body" sz="quarter" idx="14"/>
          </p:nvPr>
        </p:nvSpPr>
        <p:spPr>
          <a:xfrm>
            <a:off x="2294081" y="2531414"/>
            <a:ext cx="1579562" cy="2935288"/>
          </a:xfrm>
        </p:spPr>
        <p:txBody>
          <a:bodyPr/>
          <a:lstStyle/>
          <a:p>
            <a:r>
              <a:rPr lang="en-US" b="0" dirty="0"/>
              <a:t>{</a:t>
            </a:r>
            <a:r>
              <a:rPr lang="en-US" b="0" dirty="0" err="1"/>
              <a:t>deal_stage</a:t>
            </a:r>
            <a:r>
              <a:rPr lang="en-US" b="0" dirty="0"/>
              <a:t>}</a:t>
            </a:r>
            <a:endParaRPr lang="en-SG" b="0" dirty="0"/>
          </a:p>
        </p:txBody>
      </p:sp>
      <p:sp>
        <p:nvSpPr>
          <p:cNvPr id="9" name="Text Placeholder 8">
            <a:extLst>
              <a:ext uri="{FF2B5EF4-FFF2-40B4-BE49-F238E27FC236}">
                <a16:creationId xmlns:a16="http://schemas.microsoft.com/office/drawing/2014/main" id="{9EA74A6D-DF96-4C33-69A0-0B5E19990EDF}"/>
              </a:ext>
            </a:extLst>
          </p:cNvPr>
          <p:cNvSpPr>
            <a:spLocks noGrp="1"/>
          </p:cNvSpPr>
          <p:nvPr>
            <p:ph type="body" sz="quarter" idx="15"/>
          </p:nvPr>
        </p:nvSpPr>
        <p:spPr>
          <a:xfrm>
            <a:off x="4023752" y="2531414"/>
            <a:ext cx="1579562" cy="2935288"/>
          </a:xfrm>
        </p:spPr>
        <p:txBody>
          <a:bodyPr/>
          <a:lstStyle/>
          <a:p>
            <a:r>
              <a:rPr lang="en-US" b="0" dirty="0"/>
              <a:t>{</a:t>
            </a:r>
            <a:r>
              <a:rPr lang="en-US" b="0" dirty="0" err="1"/>
              <a:t>deal_rationale</a:t>
            </a:r>
            <a:r>
              <a:rPr lang="en-US" b="0" dirty="0"/>
              <a:t>}</a:t>
            </a:r>
            <a:endParaRPr lang="en-SG" b="0" dirty="0"/>
          </a:p>
        </p:txBody>
      </p:sp>
      <p:sp>
        <p:nvSpPr>
          <p:cNvPr id="10" name="Text Placeholder 9">
            <a:extLst>
              <a:ext uri="{FF2B5EF4-FFF2-40B4-BE49-F238E27FC236}">
                <a16:creationId xmlns:a16="http://schemas.microsoft.com/office/drawing/2014/main" id="{F0C2ADD9-9D04-EB30-4AC6-BD75C18E3241}"/>
              </a:ext>
            </a:extLst>
          </p:cNvPr>
          <p:cNvSpPr>
            <a:spLocks noGrp="1"/>
          </p:cNvSpPr>
          <p:nvPr>
            <p:ph type="body" sz="quarter" idx="16"/>
          </p:nvPr>
        </p:nvSpPr>
        <p:spPr>
          <a:xfrm>
            <a:off x="5785499" y="2531414"/>
            <a:ext cx="1579562" cy="2935288"/>
          </a:xfrm>
        </p:spPr>
        <p:txBody>
          <a:bodyPr/>
          <a:lstStyle/>
          <a:p>
            <a:r>
              <a:rPr lang="en-US" b="0" dirty="0"/>
              <a:t>{</a:t>
            </a:r>
            <a:r>
              <a:rPr lang="en-US" b="0" dirty="0" err="1"/>
              <a:t>biz_desc</a:t>
            </a:r>
            <a:r>
              <a:rPr lang="en-US" b="0" dirty="0"/>
              <a:t>}</a:t>
            </a:r>
            <a:endParaRPr lang="en-SG" b="0" dirty="0"/>
          </a:p>
        </p:txBody>
      </p:sp>
      <p:sp>
        <p:nvSpPr>
          <p:cNvPr id="11" name="Text Placeholder 10">
            <a:extLst>
              <a:ext uri="{FF2B5EF4-FFF2-40B4-BE49-F238E27FC236}">
                <a16:creationId xmlns:a16="http://schemas.microsoft.com/office/drawing/2014/main" id="{57C3D05E-8D71-5641-BA32-9BA34520AB91}"/>
              </a:ext>
            </a:extLst>
          </p:cNvPr>
          <p:cNvSpPr>
            <a:spLocks noGrp="1"/>
          </p:cNvSpPr>
          <p:nvPr>
            <p:ph type="body" sz="quarter" idx="17"/>
          </p:nvPr>
        </p:nvSpPr>
        <p:spPr>
          <a:xfrm>
            <a:off x="7570812" y="2531414"/>
            <a:ext cx="1579562" cy="2935288"/>
          </a:xfrm>
        </p:spPr>
        <p:txBody>
          <a:bodyPr/>
          <a:lstStyle/>
          <a:p>
            <a:r>
              <a:rPr lang="en-US" b="0" dirty="0"/>
              <a:t>{</a:t>
            </a:r>
            <a:r>
              <a:rPr lang="en-US" b="0" dirty="0" err="1"/>
              <a:t>next_step</a:t>
            </a:r>
            <a:r>
              <a:rPr lang="en-US" b="0" dirty="0"/>
              <a:t>}</a:t>
            </a:r>
            <a:endParaRPr lang="en-SG" b="0" dirty="0"/>
          </a:p>
        </p:txBody>
      </p:sp>
      <p:sp>
        <p:nvSpPr>
          <p:cNvPr id="8" name="Rectangle 7">
            <a:extLst>
              <a:ext uri="{FF2B5EF4-FFF2-40B4-BE49-F238E27FC236}">
                <a16:creationId xmlns:a16="http://schemas.microsoft.com/office/drawing/2014/main" id="{E9D49B36-AC36-4CF8-B15D-3881502E9090}"/>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rPr>
              <a:t>Source: Merger market; accessed on {date}</a:t>
            </a:r>
          </a:p>
        </p:txBody>
      </p:sp>
      <p:sp>
        <p:nvSpPr>
          <p:cNvPr id="21" name="TextBox 20">
            <a:extLst>
              <a:ext uri="{FF2B5EF4-FFF2-40B4-BE49-F238E27FC236}">
                <a16:creationId xmlns:a16="http://schemas.microsoft.com/office/drawing/2014/main" id="{3835718A-3C1F-4CBF-8506-0A13F6A52517}"/>
              </a:ext>
            </a:extLst>
          </p:cNvPr>
          <p:cNvSpPr txBox="1"/>
          <p:nvPr/>
        </p:nvSpPr>
        <p:spPr>
          <a:xfrm>
            <a:off x="7734452" y="1552138"/>
            <a:ext cx="1415922" cy="930985"/>
          </a:xfrm>
          <a:prstGeom prst="rect">
            <a:avLst/>
          </a:prstGeom>
          <a:noFill/>
        </p:spPr>
        <p:txBody>
          <a:bodyPr wrap="square" lIns="54610" tIns="54610" rIns="54610" bIns="54610" rtlCol="0">
            <a:noAutofit/>
          </a:bodyPr>
          <a:lstStyle/>
          <a:p>
            <a:pPr algn="ctr" defTabSz="914395">
              <a:spcAft>
                <a:spcPts val="600"/>
              </a:spcAft>
              <a:defRPr/>
            </a:pPr>
            <a:r>
              <a:rPr lang="en-US" sz="2800" b="1" dirty="0">
                <a:solidFill>
                  <a:srgbClr val="FFFFFF"/>
                </a:solidFill>
                <a:latin typeface="KPMG Extralight"/>
              </a:rPr>
              <a:t>KPMG view</a:t>
            </a:r>
            <a:endParaRPr lang="en-US" sz="900" b="1" dirty="0">
              <a:solidFill>
                <a:srgbClr val="FFFFFF"/>
              </a:solidFill>
              <a:latin typeface="KPMG Extralight"/>
            </a:endParaRPr>
          </a:p>
        </p:txBody>
      </p:sp>
      <p:sp>
        <p:nvSpPr>
          <p:cNvPr id="23" name="Arrow: Pentagon 22">
            <a:extLst>
              <a:ext uri="{FF2B5EF4-FFF2-40B4-BE49-F238E27FC236}">
                <a16:creationId xmlns:a16="http://schemas.microsoft.com/office/drawing/2014/main" id="{605B15EE-7482-4EBC-8C69-11525BEF5F73}"/>
              </a:ext>
            </a:extLst>
          </p:cNvPr>
          <p:cNvSpPr>
            <a:spLocks/>
          </p:cNvSpPr>
          <p:nvPr/>
        </p:nvSpPr>
        <p:spPr>
          <a:xfrm>
            <a:off x="501796" y="1408953"/>
            <a:ext cx="1924502" cy="1005840"/>
          </a:xfrm>
          <a:prstGeom prst="homePlate">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defTabSz="914395">
              <a:defRPr/>
            </a:pPr>
            <a:r>
              <a:rPr lang="en-US" sz="2800" b="1" dirty="0">
                <a:solidFill>
                  <a:prstClr val="white"/>
                </a:solidFill>
                <a:latin typeface="KPMG Bold" panose="020B0803030202040204" pitchFamily="34" charset="0"/>
              </a:rPr>
              <a:t>Situation overview</a:t>
            </a:r>
          </a:p>
        </p:txBody>
      </p:sp>
      <p:sp>
        <p:nvSpPr>
          <p:cNvPr id="24" name="Arrow: Chevron 23">
            <a:extLst>
              <a:ext uri="{FF2B5EF4-FFF2-40B4-BE49-F238E27FC236}">
                <a16:creationId xmlns:a16="http://schemas.microsoft.com/office/drawing/2014/main" id="{63B7F230-F38B-487E-8F1A-F201BA841935}"/>
              </a:ext>
            </a:extLst>
          </p:cNvPr>
          <p:cNvSpPr>
            <a:spLocks/>
          </p:cNvSpPr>
          <p:nvPr/>
        </p:nvSpPr>
        <p:spPr>
          <a:xfrm>
            <a:off x="2064579" y="1424063"/>
            <a:ext cx="2034684" cy="1005840"/>
          </a:xfrm>
          <a:prstGeom prst="chevron">
            <a:avLst/>
          </a:prstGeom>
          <a:solidFill>
            <a:srgbClr val="1E49E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2800" b="1" dirty="0">
                <a:solidFill>
                  <a:prstClr val="white"/>
                </a:solidFill>
                <a:latin typeface="KPMG Bold" panose="020B0803030202040204" pitchFamily="34" charset="0"/>
              </a:rPr>
              <a:t>Timing</a:t>
            </a:r>
          </a:p>
        </p:txBody>
      </p:sp>
      <p:sp>
        <p:nvSpPr>
          <p:cNvPr id="25" name="Arrow: Chevron 24">
            <a:extLst>
              <a:ext uri="{FF2B5EF4-FFF2-40B4-BE49-F238E27FC236}">
                <a16:creationId xmlns:a16="http://schemas.microsoft.com/office/drawing/2014/main" id="{D9E43C32-544F-4AF9-9A1B-7EE8EAF26298}"/>
              </a:ext>
            </a:extLst>
          </p:cNvPr>
          <p:cNvSpPr>
            <a:spLocks/>
          </p:cNvSpPr>
          <p:nvPr/>
        </p:nvSpPr>
        <p:spPr>
          <a:xfrm>
            <a:off x="3748486" y="1426134"/>
            <a:ext cx="2117087" cy="1005840"/>
          </a:xfrm>
          <a:prstGeom prst="chevron">
            <a:avLst/>
          </a:prstGeom>
          <a:solidFill>
            <a:srgbClr val="00B8F5"/>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defRPr/>
            </a:pPr>
            <a:r>
              <a:rPr lang="en-US" sz="2800" b="1" dirty="0">
                <a:solidFill>
                  <a:prstClr val="white"/>
                </a:solidFill>
                <a:latin typeface="KPMG Bold" panose="020B0803030202040204" pitchFamily="34" charset="0"/>
              </a:rPr>
              <a:t>Deal rationale</a:t>
            </a:r>
          </a:p>
        </p:txBody>
      </p:sp>
      <p:sp>
        <p:nvSpPr>
          <p:cNvPr id="26" name="Arrow: Chevron 25">
            <a:extLst>
              <a:ext uri="{FF2B5EF4-FFF2-40B4-BE49-F238E27FC236}">
                <a16:creationId xmlns:a16="http://schemas.microsoft.com/office/drawing/2014/main" id="{4A1714C9-7F4D-4FFD-8987-6503DEE9EF6F}"/>
              </a:ext>
            </a:extLst>
          </p:cNvPr>
          <p:cNvSpPr>
            <a:spLocks/>
          </p:cNvSpPr>
          <p:nvPr/>
        </p:nvSpPr>
        <p:spPr>
          <a:xfrm>
            <a:off x="5514796" y="1431618"/>
            <a:ext cx="2117087" cy="1005840"/>
          </a:xfrm>
          <a:prstGeom prst="chevron">
            <a:avLst/>
          </a:prstGeom>
          <a:solidFill>
            <a:srgbClr val="7213EA"/>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defRPr/>
            </a:pPr>
            <a:r>
              <a:rPr lang="en-US" sz="2800" b="1" dirty="0">
                <a:solidFill>
                  <a:prstClr val="white"/>
                </a:solidFill>
                <a:latin typeface="KPMG Bold" panose="020B0803030202040204" pitchFamily="34" charset="0"/>
              </a:rPr>
              <a:t>Business summary</a:t>
            </a:r>
          </a:p>
        </p:txBody>
      </p:sp>
      <p:sp>
        <p:nvSpPr>
          <p:cNvPr id="28" name="Arrow: Chevron 27">
            <a:extLst>
              <a:ext uri="{FF2B5EF4-FFF2-40B4-BE49-F238E27FC236}">
                <a16:creationId xmlns:a16="http://schemas.microsoft.com/office/drawing/2014/main" id="{737FB8B9-A61B-49AF-9543-AC3DE5055AF1}"/>
              </a:ext>
            </a:extLst>
          </p:cNvPr>
          <p:cNvSpPr>
            <a:spLocks/>
          </p:cNvSpPr>
          <p:nvPr/>
        </p:nvSpPr>
        <p:spPr>
          <a:xfrm>
            <a:off x="7300109" y="1441133"/>
            <a:ext cx="2117087" cy="1005840"/>
          </a:xfrm>
          <a:prstGeom prst="chevron">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2400" b="1" dirty="0">
                <a:solidFill>
                  <a:prstClr val="white"/>
                </a:solidFill>
                <a:latin typeface="KPMG Bold" panose="020B0803030202040204" pitchFamily="34" charset="0"/>
              </a:rPr>
              <a:t>Why KPMG</a:t>
            </a:r>
          </a:p>
        </p:txBody>
      </p:sp>
    </p:spTree>
    <p:extLst>
      <p:ext uri="{BB962C8B-B14F-4D97-AF65-F5344CB8AC3E}">
        <p14:creationId xmlns:p14="http://schemas.microsoft.com/office/powerpoint/2010/main" val="1197722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8875" y="2398604"/>
            <a:ext cx="4852275" cy="2367199"/>
          </a:xfrm>
        </p:spPr>
        <p:txBody>
          <a:bodyPr/>
          <a:lstStyle/>
          <a:p>
            <a:r>
              <a:rPr lang="en-GB" dirty="0"/>
              <a:t>Company Overview</a:t>
            </a:r>
          </a:p>
        </p:txBody>
      </p:sp>
      <p:sp>
        <p:nvSpPr>
          <p:cNvPr id="8" name="Text Placeholder 7">
            <a:extLst>
              <a:ext uri="{FF2B5EF4-FFF2-40B4-BE49-F238E27FC236}">
                <a16:creationId xmlns:a16="http://schemas.microsoft.com/office/drawing/2014/main" id="{BB3F3353-A995-48FF-9605-594CAE6144A7}"/>
              </a:ext>
            </a:extLst>
          </p:cNvPr>
          <p:cNvSpPr>
            <a:spLocks noGrp="1"/>
          </p:cNvSpPr>
          <p:nvPr>
            <p:ph type="body" sz="quarter" idx="11"/>
          </p:nvPr>
        </p:nvSpPr>
        <p:spPr>
          <a:xfrm>
            <a:off x="728875" y="5516062"/>
            <a:ext cx="4852275" cy="215545"/>
          </a:xfrm>
        </p:spPr>
        <p:txBody>
          <a:bodyPr/>
          <a:lstStyle/>
          <a:p>
            <a:endParaRPr lang="en-GB"/>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a:xfrm>
            <a:off x="728878" y="1140070"/>
            <a:ext cx="879673" cy="812658"/>
          </a:xfrm>
        </p:spPr>
        <p:txBody>
          <a:bodyPr/>
          <a:lstStyle/>
          <a:p>
            <a:r>
              <a:rPr lang="en-GB" dirty="0"/>
              <a:t>02</a:t>
            </a:r>
          </a:p>
        </p:txBody>
      </p:sp>
    </p:spTree>
    <p:extLst>
      <p:ext uri="{BB962C8B-B14F-4D97-AF65-F5344CB8AC3E}">
        <p14:creationId xmlns:p14="http://schemas.microsoft.com/office/powerpoint/2010/main" val="3528264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5" name="Rechteck 90">
            <a:extLst>
              <a:ext uri="{FF2B5EF4-FFF2-40B4-BE49-F238E27FC236}">
                <a16:creationId xmlns:a16="http://schemas.microsoft.com/office/drawing/2014/main" id="{F64E8117-3A3E-4669-9584-E059D7BFEA05}"/>
              </a:ext>
            </a:extLst>
          </p:cNvPr>
          <p:cNvSpPr/>
          <p:nvPr/>
        </p:nvSpPr>
        <p:spPr>
          <a:xfrm>
            <a:off x="496265" y="1059332"/>
            <a:ext cx="8926211"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defTabSz="317838"/>
            <a:endParaRPr lang="en-US" sz="1100" spc="88" dirty="0">
              <a:solidFill>
                <a:schemeClr val="tx2"/>
              </a:solidFill>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US" dirty="0"/>
              <a:t>Overview</a:t>
            </a:r>
            <a:endParaRPr lang="en-GB" dirty="0"/>
          </a:p>
        </p:txBody>
      </p:sp>
      <p:sp>
        <p:nvSpPr>
          <p:cNvPr id="161" name="Text Placeholder 8">
            <a:extLst>
              <a:ext uri="{FF2B5EF4-FFF2-40B4-BE49-F238E27FC236}">
                <a16:creationId xmlns:a16="http://schemas.microsoft.com/office/drawing/2014/main" id="{2DDA2FE4-95B1-4C75-94BF-9240E47DB2FB}"/>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84" name="Rectangle 83">
            <a:extLst>
              <a:ext uri="{FF2B5EF4-FFF2-40B4-BE49-F238E27FC236}">
                <a16:creationId xmlns:a16="http://schemas.microsoft.com/office/drawing/2014/main" id="{D9A9466D-7F14-40B8-863E-D10CFF29D2CD}"/>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 &lt;Please fill in sources and links, Format: sources, link;&gt;</a:t>
            </a:r>
            <a:r>
              <a:rPr lang="en-US" sz="600" dirty="0">
                <a:solidFill>
                  <a:schemeClr val="tx1"/>
                </a:solidFill>
              </a:rPr>
              <a:t>;</a:t>
            </a:r>
            <a:r>
              <a:rPr lang="en-US" sz="600" dirty="0">
                <a:solidFill>
                  <a:schemeClr val="tx1"/>
                </a:solidFill>
                <a:latin typeface="Arial" panose="020B0604020202020204" pitchFamily="34" charset="0"/>
                <a:cs typeface="Arial" panose="020B0604020202020204" pitchFamily="34" charset="0"/>
              </a:rPr>
              <a:t> accessed on {date}</a:t>
            </a:r>
            <a:endParaRPr lang="en-US" sz="600" dirty="0">
              <a:solidFill>
                <a:srgbClr val="000000"/>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14F7DFAE-69FD-47F1-94D6-F9BA9638A155}"/>
              </a:ext>
            </a:extLst>
          </p:cNvPr>
          <p:cNvSpPr/>
          <p:nvPr/>
        </p:nvSpPr>
        <p:spPr>
          <a:xfrm>
            <a:off x="496265" y="1435100"/>
            <a:ext cx="4355590" cy="284518"/>
          </a:xfrm>
          <a:prstGeom prst="rect">
            <a:avLst/>
          </a:prstGeom>
          <a:solidFill>
            <a:srgbClr val="00338D"/>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1100" b="1" dirty="0">
                <a:solidFill>
                  <a:prstClr val="white"/>
                </a:solidFill>
                <a:latin typeface="Arial"/>
              </a:rPr>
              <a:t>Key facts</a:t>
            </a:r>
          </a:p>
        </p:txBody>
      </p:sp>
      <p:sp>
        <p:nvSpPr>
          <p:cNvPr id="11" name="Rectangle 10">
            <a:extLst>
              <a:ext uri="{FF2B5EF4-FFF2-40B4-BE49-F238E27FC236}">
                <a16:creationId xmlns:a16="http://schemas.microsoft.com/office/drawing/2014/main" id="{85321D3C-F9CF-4B57-81EE-3B4E040D8DE1}"/>
              </a:ext>
            </a:extLst>
          </p:cNvPr>
          <p:cNvSpPr>
            <a:spLocks/>
          </p:cNvSpPr>
          <p:nvPr/>
        </p:nvSpPr>
        <p:spPr>
          <a:xfrm>
            <a:off x="491091" y="1778920"/>
            <a:ext cx="2142975" cy="918054"/>
          </a:xfrm>
          <a:prstGeom prst="rect">
            <a:avLst/>
          </a:prstGeom>
          <a:solidFill>
            <a:srgbClr val="00338D"/>
          </a:solid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14300" lvl="1" defTabSz="914395">
              <a:defRPr/>
            </a:pPr>
            <a:r>
              <a:rPr lang="en-GB" sz="1000" b="1" dirty="0">
                <a:solidFill>
                  <a:prstClr val="white"/>
                </a:solidFill>
                <a:latin typeface="Arial"/>
                <a:cs typeface="Arial" panose="020B0604020202020204" pitchFamily="34" charset="0"/>
              </a:rPr>
              <a:t>Founded</a:t>
            </a:r>
          </a:p>
        </p:txBody>
      </p:sp>
      <p:sp>
        <p:nvSpPr>
          <p:cNvPr id="13" name="Rectangle 12">
            <a:extLst>
              <a:ext uri="{FF2B5EF4-FFF2-40B4-BE49-F238E27FC236}">
                <a16:creationId xmlns:a16="http://schemas.microsoft.com/office/drawing/2014/main" id="{F032D627-BC5B-4378-8756-B2AF4E46994F}"/>
              </a:ext>
            </a:extLst>
          </p:cNvPr>
          <p:cNvSpPr>
            <a:spLocks/>
          </p:cNvSpPr>
          <p:nvPr/>
        </p:nvSpPr>
        <p:spPr>
          <a:xfrm>
            <a:off x="2778434" y="2813048"/>
            <a:ext cx="2080905" cy="914401"/>
          </a:xfrm>
          <a:prstGeom prst="rect">
            <a:avLst/>
          </a:prstGeom>
          <a:solidFill>
            <a:srgbClr val="1E49E2"/>
          </a:solidFill>
          <a:ln w="1270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defTabSz="914395">
              <a:defRPr/>
            </a:pPr>
            <a:r>
              <a:rPr lang="en-GB" sz="1000" b="1" dirty="0">
                <a:solidFill>
                  <a:prstClr val="white"/>
                </a:solidFill>
                <a:latin typeface="Arial"/>
                <a:cs typeface="Arial" panose="020B0604020202020204" pitchFamily="34" charset="0"/>
              </a:rPr>
              <a:t>Company Type</a:t>
            </a:r>
          </a:p>
        </p:txBody>
      </p:sp>
      <p:sp>
        <p:nvSpPr>
          <p:cNvPr id="18" name="TextBox 17">
            <a:extLst>
              <a:ext uri="{FF2B5EF4-FFF2-40B4-BE49-F238E27FC236}">
                <a16:creationId xmlns:a16="http://schemas.microsoft.com/office/drawing/2014/main" id="{AE1D9100-5117-4BD5-A6CD-F7421966C4A3}"/>
              </a:ext>
            </a:extLst>
          </p:cNvPr>
          <p:cNvSpPr txBox="1"/>
          <p:nvPr/>
        </p:nvSpPr>
        <p:spPr>
          <a:xfrm>
            <a:off x="38559" y="2193395"/>
            <a:ext cx="1899559" cy="369332"/>
          </a:xfrm>
          <a:prstGeom prst="rect">
            <a:avLst/>
          </a:prstGeom>
          <a:noFill/>
        </p:spPr>
        <p:txBody>
          <a:bodyPr wrap="none" lIns="0" tIns="0" rIns="0" bIns="0" rtlCol="0" anchor="ctr">
            <a:spAutoFit/>
          </a:bodyPr>
          <a:lstStyle/>
          <a:p>
            <a:pPr algn="ctr" defTabSz="914395">
              <a:spcAft>
                <a:spcPts val="600"/>
              </a:spcAft>
              <a:defRPr/>
            </a:pPr>
            <a:r>
              <a:rPr lang="en-US" sz="2400" b="1" dirty="0">
                <a:solidFill>
                  <a:prstClr val="white"/>
                </a:solidFill>
                <a:latin typeface="Arial"/>
                <a:cs typeface="Arial" panose="020B0604020202020204" pitchFamily="34" charset="0"/>
              </a:rPr>
              <a:t>{</a:t>
            </a:r>
            <a:r>
              <a:rPr lang="en-US" sz="2400" b="1" dirty="0" err="1">
                <a:solidFill>
                  <a:prstClr val="white"/>
                </a:solidFill>
                <a:latin typeface="Arial"/>
                <a:cs typeface="Arial" panose="020B0604020202020204" pitchFamily="34" charset="0"/>
              </a:rPr>
              <a:t>found_year</a:t>
            </a:r>
            <a:r>
              <a:rPr lang="en-US" sz="2400" b="1" dirty="0">
                <a:solidFill>
                  <a:prstClr val="white"/>
                </a:solidFill>
                <a:latin typeface="Arial"/>
                <a:cs typeface="Arial" panose="020B0604020202020204" pitchFamily="34" charset="0"/>
              </a:rPr>
              <a:t>}</a:t>
            </a:r>
            <a:endParaRPr lang="en-US" sz="2800" b="1" dirty="0">
              <a:solidFill>
                <a:prstClr val="white"/>
              </a:solidFill>
              <a:latin typeface="Arial"/>
              <a:cs typeface="Arial" panose="020B0604020202020204" pitchFamily="34" charset="0"/>
            </a:endParaRPr>
          </a:p>
        </p:txBody>
      </p:sp>
      <p:grpSp>
        <p:nvGrpSpPr>
          <p:cNvPr id="20" name="Group 4">
            <a:extLst>
              <a:ext uri="{FF2B5EF4-FFF2-40B4-BE49-F238E27FC236}">
                <a16:creationId xmlns:a16="http://schemas.microsoft.com/office/drawing/2014/main" id="{40DB732F-997D-44F7-9C75-39E55D2BBA3E}"/>
              </a:ext>
            </a:extLst>
          </p:cNvPr>
          <p:cNvGrpSpPr>
            <a:grpSpLocks noChangeAspect="1"/>
          </p:cNvGrpSpPr>
          <p:nvPr/>
        </p:nvGrpSpPr>
        <p:grpSpPr bwMode="auto">
          <a:xfrm rot="344634">
            <a:off x="1770803" y="1980217"/>
            <a:ext cx="597412" cy="598246"/>
            <a:chOff x="604" y="1113"/>
            <a:chExt cx="375" cy="375"/>
          </a:xfrm>
          <a:solidFill>
            <a:schemeClr val="bg1"/>
          </a:solidFill>
        </p:grpSpPr>
        <p:sp>
          <p:nvSpPr>
            <p:cNvPr id="21" name="Freeform 6">
              <a:extLst>
                <a:ext uri="{FF2B5EF4-FFF2-40B4-BE49-F238E27FC236}">
                  <a16:creationId xmlns:a16="http://schemas.microsoft.com/office/drawing/2014/main" id="{A1478272-4043-4A85-B8CD-7997DBBB302B}"/>
                </a:ext>
              </a:extLst>
            </p:cNvPr>
            <p:cNvSpPr>
              <a:spLocks/>
            </p:cNvSpPr>
            <p:nvPr/>
          </p:nvSpPr>
          <p:spPr bwMode="auto">
            <a:xfrm>
              <a:off x="604" y="1233"/>
              <a:ext cx="133" cy="94"/>
            </a:xfrm>
            <a:custGeom>
              <a:avLst/>
              <a:gdLst>
                <a:gd name="T0" fmla="*/ 0 w 1393"/>
                <a:gd name="T1" fmla="*/ 979 h 987"/>
                <a:gd name="T2" fmla="*/ 13 w 1393"/>
                <a:gd name="T3" fmla="*/ 960 h 987"/>
                <a:gd name="T4" fmla="*/ 501 w 1393"/>
                <a:gd name="T5" fmla="*/ 325 h 987"/>
                <a:gd name="T6" fmla="*/ 1011 w 1393"/>
                <a:gd name="T7" fmla="*/ 30 h 987"/>
                <a:gd name="T8" fmla="*/ 1309 w 1393"/>
                <a:gd name="T9" fmla="*/ 33 h 987"/>
                <a:gd name="T10" fmla="*/ 1393 w 1393"/>
                <a:gd name="T11" fmla="*/ 54 h 987"/>
                <a:gd name="T12" fmla="*/ 903 w 1393"/>
                <a:gd name="T13" fmla="*/ 903 h 987"/>
                <a:gd name="T14" fmla="*/ 878 w 1393"/>
                <a:gd name="T15" fmla="*/ 884 h 987"/>
                <a:gd name="T16" fmla="*/ 727 w 1393"/>
                <a:gd name="T17" fmla="*/ 784 h 987"/>
                <a:gd name="T18" fmla="*/ 405 w 1393"/>
                <a:gd name="T19" fmla="*/ 782 h 987"/>
                <a:gd name="T20" fmla="*/ 26 w 1393"/>
                <a:gd name="T21" fmla="*/ 974 h 987"/>
                <a:gd name="T22" fmla="*/ 0 w 1393"/>
                <a:gd name="T23" fmla="*/ 987 h 987"/>
                <a:gd name="T24" fmla="*/ 0 w 1393"/>
                <a:gd name="T25" fmla="*/ 979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3" h="987">
                  <a:moveTo>
                    <a:pt x="0" y="979"/>
                  </a:moveTo>
                  <a:cubicBezTo>
                    <a:pt x="4" y="973"/>
                    <a:pt x="9" y="967"/>
                    <a:pt x="13" y="960"/>
                  </a:cubicBezTo>
                  <a:cubicBezTo>
                    <a:pt x="145" y="725"/>
                    <a:pt x="303" y="509"/>
                    <a:pt x="501" y="325"/>
                  </a:cubicBezTo>
                  <a:cubicBezTo>
                    <a:pt x="648" y="189"/>
                    <a:pt x="817" y="88"/>
                    <a:pt x="1011" y="30"/>
                  </a:cubicBezTo>
                  <a:cubicBezTo>
                    <a:pt x="1111" y="0"/>
                    <a:pt x="1210" y="11"/>
                    <a:pt x="1309" y="33"/>
                  </a:cubicBezTo>
                  <a:cubicBezTo>
                    <a:pt x="1336" y="39"/>
                    <a:pt x="1362" y="46"/>
                    <a:pt x="1393" y="54"/>
                  </a:cubicBezTo>
                  <a:cubicBezTo>
                    <a:pt x="1209" y="328"/>
                    <a:pt x="1032" y="600"/>
                    <a:pt x="903" y="903"/>
                  </a:cubicBezTo>
                  <a:cubicBezTo>
                    <a:pt x="892" y="895"/>
                    <a:pt x="885" y="889"/>
                    <a:pt x="878" y="884"/>
                  </a:cubicBezTo>
                  <a:cubicBezTo>
                    <a:pt x="832" y="845"/>
                    <a:pt x="785" y="806"/>
                    <a:pt x="727" y="784"/>
                  </a:cubicBezTo>
                  <a:cubicBezTo>
                    <a:pt x="621" y="743"/>
                    <a:pt x="513" y="745"/>
                    <a:pt x="405" y="782"/>
                  </a:cubicBezTo>
                  <a:cubicBezTo>
                    <a:pt x="270" y="828"/>
                    <a:pt x="147" y="898"/>
                    <a:pt x="26" y="974"/>
                  </a:cubicBezTo>
                  <a:cubicBezTo>
                    <a:pt x="18" y="979"/>
                    <a:pt x="9" y="983"/>
                    <a:pt x="0" y="987"/>
                  </a:cubicBezTo>
                  <a:cubicBezTo>
                    <a:pt x="0" y="984"/>
                    <a:pt x="0" y="982"/>
                    <a:pt x="0" y="9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2" name="Freeform 7">
              <a:extLst>
                <a:ext uri="{FF2B5EF4-FFF2-40B4-BE49-F238E27FC236}">
                  <a16:creationId xmlns:a16="http://schemas.microsoft.com/office/drawing/2014/main" id="{6B25CFBA-6BD4-4DB3-A440-6A4558F839C5}"/>
                </a:ext>
              </a:extLst>
            </p:cNvPr>
            <p:cNvSpPr>
              <a:spLocks/>
            </p:cNvSpPr>
            <p:nvPr/>
          </p:nvSpPr>
          <p:spPr bwMode="auto">
            <a:xfrm>
              <a:off x="894" y="1113"/>
              <a:ext cx="85" cy="85"/>
            </a:xfrm>
            <a:custGeom>
              <a:avLst/>
              <a:gdLst>
                <a:gd name="T0" fmla="*/ 884 w 884"/>
                <a:gd name="T1" fmla="*/ 88 h 890"/>
                <a:gd name="T2" fmla="*/ 872 w 884"/>
                <a:gd name="T3" fmla="*/ 199 h 890"/>
                <a:gd name="T4" fmla="*/ 719 w 884"/>
                <a:gd name="T5" fmla="*/ 875 h 890"/>
                <a:gd name="T6" fmla="*/ 712 w 884"/>
                <a:gd name="T7" fmla="*/ 890 h 890"/>
                <a:gd name="T8" fmla="*/ 0 w 884"/>
                <a:gd name="T9" fmla="*/ 169 h 890"/>
                <a:gd name="T10" fmla="*/ 147 w 884"/>
                <a:gd name="T11" fmla="*/ 121 h 890"/>
                <a:gd name="T12" fmla="*/ 812 w 884"/>
                <a:gd name="T13" fmla="*/ 3 h 890"/>
                <a:gd name="T14" fmla="*/ 832 w 884"/>
                <a:gd name="T15" fmla="*/ 0 h 890"/>
                <a:gd name="T16" fmla="*/ 884 w 884"/>
                <a:gd name="T17" fmla="*/ 0 h 890"/>
                <a:gd name="T18" fmla="*/ 884 w 884"/>
                <a:gd name="T19" fmla="*/ 88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4" h="890">
                  <a:moveTo>
                    <a:pt x="884" y="88"/>
                  </a:moveTo>
                  <a:cubicBezTo>
                    <a:pt x="880" y="125"/>
                    <a:pt x="877" y="162"/>
                    <a:pt x="872" y="199"/>
                  </a:cubicBezTo>
                  <a:cubicBezTo>
                    <a:pt x="842" y="429"/>
                    <a:pt x="798" y="656"/>
                    <a:pt x="719" y="875"/>
                  </a:cubicBezTo>
                  <a:cubicBezTo>
                    <a:pt x="717" y="879"/>
                    <a:pt x="715" y="883"/>
                    <a:pt x="712" y="890"/>
                  </a:cubicBezTo>
                  <a:cubicBezTo>
                    <a:pt x="475" y="650"/>
                    <a:pt x="234" y="417"/>
                    <a:pt x="0" y="169"/>
                  </a:cubicBezTo>
                  <a:cubicBezTo>
                    <a:pt x="53" y="152"/>
                    <a:pt x="100" y="136"/>
                    <a:pt x="147" y="121"/>
                  </a:cubicBezTo>
                  <a:cubicBezTo>
                    <a:pt x="364" y="54"/>
                    <a:pt x="586" y="18"/>
                    <a:pt x="812" y="3"/>
                  </a:cubicBezTo>
                  <a:cubicBezTo>
                    <a:pt x="819" y="3"/>
                    <a:pt x="825" y="1"/>
                    <a:pt x="832" y="0"/>
                  </a:cubicBezTo>
                  <a:cubicBezTo>
                    <a:pt x="849" y="0"/>
                    <a:pt x="867" y="0"/>
                    <a:pt x="884" y="0"/>
                  </a:cubicBezTo>
                  <a:cubicBezTo>
                    <a:pt x="884" y="29"/>
                    <a:pt x="884" y="59"/>
                    <a:pt x="88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3" name="Freeform 8">
              <a:extLst>
                <a:ext uri="{FF2B5EF4-FFF2-40B4-BE49-F238E27FC236}">
                  <a16:creationId xmlns:a16="http://schemas.microsoft.com/office/drawing/2014/main" id="{0FEE4B54-E97F-4507-BDFD-C0CA6F1BE38F}"/>
                </a:ext>
              </a:extLst>
            </p:cNvPr>
            <p:cNvSpPr>
              <a:spLocks noEditPoints="1"/>
            </p:cNvSpPr>
            <p:nvPr/>
          </p:nvSpPr>
          <p:spPr bwMode="auto">
            <a:xfrm>
              <a:off x="697" y="1149"/>
              <a:ext cx="248" cy="246"/>
            </a:xfrm>
            <a:custGeom>
              <a:avLst/>
              <a:gdLst>
                <a:gd name="T0" fmla="*/ 2596 w 2596"/>
                <a:gd name="T1" fmla="*/ 912 h 2568"/>
                <a:gd name="T2" fmla="*/ 2353 w 2596"/>
                <a:gd name="T3" fmla="*/ 1255 h 2568"/>
                <a:gd name="T4" fmla="*/ 1457 w 2596"/>
                <a:gd name="T5" fmla="*/ 2099 h 2568"/>
                <a:gd name="T6" fmla="*/ 645 w 2596"/>
                <a:gd name="T7" fmla="*/ 2557 h 2568"/>
                <a:gd name="T8" fmla="*/ 585 w 2596"/>
                <a:gd name="T9" fmla="*/ 2546 h 2568"/>
                <a:gd name="T10" fmla="*/ 194 w 2596"/>
                <a:gd name="T11" fmla="*/ 2163 h 2568"/>
                <a:gd name="T12" fmla="*/ 12 w 2596"/>
                <a:gd name="T13" fmla="*/ 1982 h 2568"/>
                <a:gd name="T14" fmla="*/ 5 w 2596"/>
                <a:gd name="T15" fmla="*/ 1953 h 2568"/>
                <a:gd name="T16" fmla="*/ 102 w 2596"/>
                <a:gd name="T17" fmla="*/ 1742 h 2568"/>
                <a:gd name="T18" fmla="*/ 874 w 2596"/>
                <a:gd name="T19" fmla="*/ 628 h 2568"/>
                <a:gd name="T20" fmla="*/ 1591 w 2596"/>
                <a:gd name="T21" fmla="*/ 40 h 2568"/>
                <a:gd name="T22" fmla="*/ 1641 w 2596"/>
                <a:gd name="T23" fmla="*/ 10 h 2568"/>
                <a:gd name="T24" fmla="*/ 1684 w 2596"/>
                <a:gd name="T25" fmla="*/ 16 h 2568"/>
                <a:gd name="T26" fmla="*/ 1968 w 2596"/>
                <a:gd name="T27" fmla="*/ 292 h 2568"/>
                <a:gd name="T28" fmla="*/ 2579 w 2596"/>
                <a:gd name="T29" fmla="*/ 894 h 2568"/>
                <a:gd name="T30" fmla="*/ 2596 w 2596"/>
                <a:gd name="T31" fmla="*/ 912 h 2568"/>
                <a:gd name="T32" fmla="*/ 1587 w 2596"/>
                <a:gd name="T33" fmla="*/ 1318 h 2568"/>
                <a:gd name="T34" fmla="*/ 1907 w 2596"/>
                <a:gd name="T35" fmla="*/ 1005 h 2568"/>
                <a:gd name="T36" fmla="*/ 1577 w 2596"/>
                <a:gd name="T37" fmla="*/ 690 h 2568"/>
                <a:gd name="T38" fmla="*/ 1278 w 2596"/>
                <a:gd name="T39" fmla="*/ 1004 h 2568"/>
                <a:gd name="T40" fmla="*/ 1587 w 2596"/>
                <a:gd name="T41" fmla="*/ 1318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6" h="2568">
                  <a:moveTo>
                    <a:pt x="2596" y="912"/>
                  </a:moveTo>
                  <a:cubicBezTo>
                    <a:pt x="2515" y="1027"/>
                    <a:pt x="2438" y="1144"/>
                    <a:pt x="2353" y="1255"/>
                  </a:cubicBezTo>
                  <a:cubicBezTo>
                    <a:pt x="2100" y="1584"/>
                    <a:pt x="1794" y="1859"/>
                    <a:pt x="1457" y="2099"/>
                  </a:cubicBezTo>
                  <a:cubicBezTo>
                    <a:pt x="1202" y="2280"/>
                    <a:pt x="927" y="2423"/>
                    <a:pt x="645" y="2557"/>
                  </a:cubicBezTo>
                  <a:cubicBezTo>
                    <a:pt x="620" y="2568"/>
                    <a:pt x="604" y="2565"/>
                    <a:pt x="585" y="2546"/>
                  </a:cubicBezTo>
                  <a:cubicBezTo>
                    <a:pt x="455" y="2418"/>
                    <a:pt x="324" y="2291"/>
                    <a:pt x="194" y="2163"/>
                  </a:cubicBezTo>
                  <a:cubicBezTo>
                    <a:pt x="133" y="2103"/>
                    <a:pt x="73" y="2042"/>
                    <a:pt x="12" y="1982"/>
                  </a:cubicBezTo>
                  <a:cubicBezTo>
                    <a:pt x="3" y="1973"/>
                    <a:pt x="0" y="1965"/>
                    <a:pt x="5" y="1953"/>
                  </a:cubicBezTo>
                  <a:cubicBezTo>
                    <a:pt x="38" y="1882"/>
                    <a:pt x="68" y="1811"/>
                    <a:pt x="102" y="1742"/>
                  </a:cubicBezTo>
                  <a:cubicBezTo>
                    <a:pt x="302" y="1331"/>
                    <a:pt x="558" y="959"/>
                    <a:pt x="874" y="628"/>
                  </a:cubicBezTo>
                  <a:cubicBezTo>
                    <a:pt x="1089" y="403"/>
                    <a:pt x="1327" y="206"/>
                    <a:pt x="1591" y="40"/>
                  </a:cubicBezTo>
                  <a:cubicBezTo>
                    <a:pt x="1607" y="30"/>
                    <a:pt x="1624" y="21"/>
                    <a:pt x="1641" y="10"/>
                  </a:cubicBezTo>
                  <a:cubicBezTo>
                    <a:pt x="1657" y="0"/>
                    <a:pt x="1669" y="1"/>
                    <a:pt x="1684" y="16"/>
                  </a:cubicBezTo>
                  <a:cubicBezTo>
                    <a:pt x="1778" y="108"/>
                    <a:pt x="1874" y="199"/>
                    <a:pt x="1968" y="292"/>
                  </a:cubicBezTo>
                  <a:cubicBezTo>
                    <a:pt x="2172" y="492"/>
                    <a:pt x="2375" y="693"/>
                    <a:pt x="2579" y="894"/>
                  </a:cubicBezTo>
                  <a:cubicBezTo>
                    <a:pt x="2583" y="898"/>
                    <a:pt x="2587" y="903"/>
                    <a:pt x="2596" y="912"/>
                  </a:cubicBezTo>
                  <a:close/>
                  <a:moveTo>
                    <a:pt x="1587" y="1318"/>
                  </a:moveTo>
                  <a:cubicBezTo>
                    <a:pt x="1775" y="1326"/>
                    <a:pt x="1908" y="1163"/>
                    <a:pt x="1907" y="1005"/>
                  </a:cubicBezTo>
                  <a:cubicBezTo>
                    <a:pt x="1906" y="827"/>
                    <a:pt x="1763" y="690"/>
                    <a:pt x="1577" y="690"/>
                  </a:cubicBezTo>
                  <a:cubicBezTo>
                    <a:pt x="1419" y="690"/>
                    <a:pt x="1279" y="838"/>
                    <a:pt x="1278" y="1004"/>
                  </a:cubicBezTo>
                  <a:cubicBezTo>
                    <a:pt x="1277" y="1192"/>
                    <a:pt x="1450" y="1330"/>
                    <a:pt x="1587" y="1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4" name="Freeform 9">
              <a:extLst>
                <a:ext uri="{FF2B5EF4-FFF2-40B4-BE49-F238E27FC236}">
                  <a16:creationId xmlns:a16="http://schemas.microsoft.com/office/drawing/2014/main" id="{AED6FED8-3727-43E7-B630-AA433BBC2C5A}"/>
                </a:ext>
              </a:extLst>
            </p:cNvPr>
            <p:cNvSpPr>
              <a:spLocks/>
            </p:cNvSpPr>
            <p:nvPr/>
          </p:nvSpPr>
          <p:spPr bwMode="auto">
            <a:xfrm>
              <a:off x="765" y="1355"/>
              <a:ext cx="92" cy="133"/>
            </a:xfrm>
            <a:custGeom>
              <a:avLst/>
              <a:gdLst>
                <a:gd name="T0" fmla="*/ 0 w 966"/>
                <a:gd name="T1" fmla="*/ 1395 h 1398"/>
                <a:gd name="T2" fmla="*/ 14 w 966"/>
                <a:gd name="T3" fmla="*/ 1372 h 1398"/>
                <a:gd name="T4" fmla="*/ 210 w 966"/>
                <a:gd name="T5" fmla="*/ 978 h 1398"/>
                <a:gd name="T6" fmla="*/ 122 w 966"/>
                <a:gd name="T7" fmla="*/ 542 h 1398"/>
                <a:gd name="T8" fmla="*/ 91 w 966"/>
                <a:gd name="T9" fmla="*/ 505 h 1398"/>
                <a:gd name="T10" fmla="*/ 521 w 966"/>
                <a:gd name="T11" fmla="*/ 271 h 1398"/>
                <a:gd name="T12" fmla="*/ 937 w 966"/>
                <a:gd name="T13" fmla="*/ 0 h 1398"/>
                <a:gd name="T14" fmla="*/ 954 w 966"/>
                <a:gd name="T15" fmla="*/ 105 h 1398"/>
                <a:gd name="T16" fmla="*/ 917 w 966"/>
                <a:gd name="T17" fmla="*/ 488 h 1398"/>
                <a:gd name="T18" fmla="*/ 766 w 966"/>
                <a:gd name="T19" fmla="*/ 770 h 1398"/>
                <a:gd name="T20" fmla="*/ 405 w 966"/>
                <a:gd name="T21" fmla="*/ 1133 h 1398"/>
                <a:gd name="T22" fmla="*/ 20 w 966"/>
                <a:gd name="T23" fmla="*/ 1389 h 1398"/>
                <a:gd name="T24" fmla="*/ 3 w 966"/>
                <a:gd name="T25" fmla="*/ 1398 h 1398"/>
                <a:gd name="T26" fmla="*/ 0 w 966"/>
                <a:gd name="T27" fmla="*/ 1395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1398">
                  <a:moveTo>
                    <a:pt x="0" y="1395"/>
                  </a:moveTo>
                  <a:cubicBezTo>
                    <a:pt x="5" y="1388"/>
                    <a:pt x="9" y="1380"/>
                    <a:pt x="14" y="1372"/>
                  </a:cubicBezTo>
                  <a:cubicBezTo>
                    <a:pt x="94" y="1248"/>
                    <a:pt x="163" y="1119"/>
                    <a:pt x="210" y="978"/>
                  </a:cubicBezTo>
                  <a:cubicBezTo>
                    <a:pt x="264" y="816"/>
                    <a:pt x="231" y="672"/>
                    <a:pt x="122" y="542"/>
                  </a:cubicBezTo>
                  <a:cubicBezTo>
                    <a:pt x="111" y="529"/>
                    <a:pt x="100" y="516"/>
                    <a:pt x="91" y="505"/>
                  </a:cubicBezTo>
                  <a:cubicBezTo>
                    <a:pt x="235" y="427"/>
                    <a:pt x="379" y="351"/>
                    <a:pt x="521" y="271"/>
                  </a:cubicBezTo>
                  <a:cubicBezTo>
                    <a:pt x="663" y="191"/>
                    <a:pt x="800" y="103"/>
                    <a:pt x="937" y="0"/>
                  </a:cubicBezTo>
                  <a:cubicBezTo>
                    <a:pt x="943" y="38"/>
                    <a:pt x="952" y="71"/>
                    <a:pt x="954" y="105"/>
                  </a:cubicBezTo>
                  <a:cubicBezTo>
                    <a:pt x="964" y="235"/>
                    <a:pt x="966" y="364"/>
                    <a:pt x="917" y="488"/>
                  </a:cubicBezTo>
                  <a:cubicBezTo>
                    <a:pt x="878" y="588"/>
                    <a:pt x="829" y="683"/>
                    <a:pt x="766" y="770"/>
                  </a:cubicBezTo>
                  <a:cubicBezTo>
                    <a:pt x="666" y="911"/>
                    <a:pt x="541" y="1027"/>
                    <a:pt x="405" y="1133"/>
                  </a:cubicBezTo>
                  <a:cubicBezTo>
                    <a:pt x="283" y="1228"/>
                    <a:pt x="155" y="1315"/>
                    <a:pt x="20" y="1389"/>
                  </a:cubicBezTo>
                  <a:cubicBezTo>
                    <a:pt x="14" y="1392"/>
                    <a:pt x="8" y="1395"/>
                    <a:pt x="3" y="1398"/>
                  </a:cubicBezTo>
                  <a:cubicBezTo>
                    <a:pt x="2" y="1397"/>
                    <a:pt x="1" y="1396"/>
                    <a:pt x="0" y="13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5" name="Freeform 10">
              <a:extLst>
                <a:ext uri="{FF2B5EF4-FFF2-40B4-BE49-F238E27FC236}">
                  <a16:creationId xmlns:a16="http://schemas.microsoft.com/office/drawing/2014/main" id="{57EA2CE4-618A-4FEE-BCAB-64199B52700D}"/>
                </a:ext>
              </a:extLst>
            </p:cNvPr>
            <p:cNvSpPr>
              <a:spLocks/>
            </p:cNvSpPr>
            <p:nvPr/>
          </p:nvSpPr>
          <p:spPr bwMode="auto">
            <a:xfrm>
              <a:off x="869" y="1136"/>
              <a:ext cx="88" cy="87"/>
            </a:xfrm>
            <a:custGeom>
              <a:avLst/>
              <a:gdLst>
                <a:gd name="T0" fmla="*/ 0 w 924"/>
                <a:gd name="T1" fmla="*/ 59 h 917"/>
                <a:gd name="T2" fmla="*/ 107 w 924"/>
                <a:gd name="T3" fmla="*/ 2 h 917"/>
                <a:gd name="T4" fmla="*/ 130 w 924"/>
                <a:gd name="T5" fmla="*/ 12 h 917"/>
                <a:gd name="T6" fmla="*/ 364 w 924"/>
                <a:gd name="T7" fmla="*/ 239 h 917"/>
                <a:gd name="T8" fmla="*/ 912 w 924"/>
                <a:gd name="T9" fmla="*/ 785 h 917"/>
                <a:gd name="T10" fmla="*/ 917 w 924"/>
                <a:gd name="T11" fmla="*/ 815 h 917"/>
                <a:gd name="T12" fmla="*/ 865 w 924"/>
                <a:gd name="T13" fmla="*/ 917 h 917"/>
                <a:gd name="T14" fmla="*/ 0 w 924"/>
                <a:gd name="T15" fmla="*/ 59 h 9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4" h="917">
                  <a:moveTo>
                    <a:pt x="0" y="59"/>
                  </a:moveTo>
                  <a:cubicBezTo>
                    <a:pt x="38" y="39"/>
                    <a:pt x="72" y="19"/>
                    <a:pt x="107" y="2"/>
                  </a:cubicBezTo>
                  <a:cubicBezTo>
                    <a:pt x="112" y="0"/>
                    <a:pt x="124" y="6"/>
                    <a:pt x="130" y="12"/>
                  </a:cubicBezTo>
                  <a:cubicBezTo>
                    <a:pt x="208" y="87"/>
                    <a:pt x="287" y="162"/>
                    <a:pt x="364" y="239"/>
                  </a:cubicBezTo>
                  <a:cubicBezTo>
                    <a:pt x="547" y="421"/>
                    <a:pt x="729" y="603"/>
                    <a:pt x="912" y="785"/>
                  </a:cubicBezTo>
                  <a:cubicBezTo>
                    <a:pt x="922" y="795"/>
                    <a:pt x="924" y="803"/>
                    <a:pt x="917" y="815"/>
                  </a:cubicBezTo>
                  <a:cubicBezTo>
                    <a:pt x="898" y="850"/>
                    <a:pt x="881" y="886"/>
                    <a:pt x="865" y="917"/>
                  </a:cubicBezTo>
                  <a:cubicBezTo>
                    <a:pt x="578" y="633"/>
                    <a:pt x="291" y="348"/>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6" name="Freeform 11">
              <a:extLst>
                <a:ext uri="{FF2B5EF4-FFF2-40B4-BE49-F238E27FC236}">
                  <a16:creationId xmlns:a16="http://schemas.microsoft.com/office/drawing/2014/main" id="{778F499B-4E94-4F6D-874E-3D6517FC9E5D}"/>
                </a:ext>
              </a:extLst>
            </p:cNvPr>
            <p:cNvSpPr>
              <a:spLocks/>
            </p:cNvSpPr>
            <p:nvPr/>
          </p:nvSpPr>
          <p:spPr bwMode="auto">
            <a:xfrm>
              <a:off x="676" y="1362"/>
              <a:ext cx="51" cy="50"/>
            </a:xfrm>
            <a:custGeom>
              <a:avLst/>
              <a:gdLst>
                <a:gd name="T0" fmla="*/ 0 w 526"/>
                <a:gd name="T1" fmla="*/ 106 h 519"/>
                <a:gd name="T2" fmla="*/ 60 w 526"/>
                <a:gd name="T3" fmla="*/ 0 h 519"/>
                <a:gd name="T4" fmla="*/ 526 w 526"/>
                <a:gd name="T5" fmla="*/ 462 h 519"/>
                <a:gd name="T6" fmla="*/ 431 w 526"/>
                <a:gd name="T7" fmla="*/ 513 h 519"/>
                <a:gd name="T8" fmla="*/ 405 w 526"/>
                <a:gd name="T9" fmla="*/ 507 h 519"/>
                <a:gd name="T10" fmla="*/ 205 w 526"/>
                <a:gd name="T11" fmla="*/ 311 h 519"/>
                <a:gd name="T12" fmla="*/ 12 w 526"/>
                <a:gd name="T13" fmla="*/ 119 h 519"/>
                <a:gd name="T14" fmla="*/ 0 w 526"/>
                <a:gd name="T15" fmla="*/ 106 h 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519">
                  <a:moveTo>
                    <a:pt x="0" y="106"/>
                  </a:moveTo>
                  <a:cubicBezTo>
                    <a:pt x="19" y="73"/>
                    <a:pt x="38" y="40"/>
                    <a:pt x="60" y="0"/>
                  </a:cubicBezTo>
                  <a:cubicBezTo>
                    <a:pt x="218" y="156"/>
                    <a:pt x="371" y="308"/>
                    <a:pt x="526" y="462"/>
                  </a:cubicBezTo>
                  <a:cubicBezTo>
                    <a:pt x="492" y="480"/>
                    <a:pt x="461" y="496"/>
                    <a:pt x="431" y="513"/>
                  </a:cubicBezTo>
                  <a:cubicBezTo>
                    <a:pt x="420" y="519"/>
                    <a:pt x="413" y="514"/>
                    <a:pt x="405" y="507"/>
                  </a:cubicBezTo>
                  <a:cubicBezTo>
                    <a:pt x="339" y="441"/>
                    <a:pt x="271" y="377"/>
                    <a:pt x="205" y="311"/>
                  </a:cubicBezTo>
                  <a:cubicBezTo>
                    <a:pt x="140" y="248"/>
                    <a:pt x="77" y="183"/>
                    <a:pt x="12" y="119"/>
                  </a:cubicBezTo>
                  <a:cubicBezTo>
                    <a:pt x="9" y="115"/>
                    <a:pt x="5" y="111"/>
                    <a:pt x="0"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7" name="Freeform 12">
              <a:extLst>
                <a:ext uri="{FF2B5EF4-FFF2-40B4-BE49-F238E27FC236}">
                  <a16:creationId xmlns:a16="http://schemas.microsoft.com/office/drawing/2014/main" id="{D8EA4854-0D3E-4AF6-B4AF-2108415D853C}"/>
                </a:ext>
              </a:extLst>
            </p:cNvPr>
            <p:cNvSpPr>
              <a:spLocks/>
            </p:cNvSpPr>
            <p:nvPr/>
          </p:nvSpPr>
          <p:spPr bwMode="auto">
            <a:xfrm>
              <a:off x="618" y="1413"/>
              <a:ext cx="57" cy="58"/>
            </a:xfrm>
            <a:custGeom>
              <a:avLst/>
              <a:gdLst>
                <a:gd name="T0" fmla="*/ 62 w 605"/>
                <a:gd name="T1" fmla="*/ 605 h 605"/>
                <a:gd name="T2" fmla="*/ 0 w 605"/>
                <a:gd name="T3" fmla="*/ 543 h 605"/>
                <a:gd name="T4" fmla="*/ 543 w 605"/>
                <a:gd name="T5" fmla="*/ 0 h 605"/>
                <a:gd name="T6" fmla="*/ 605 w 605"/>
                <a:gd name="T7" fmla="*/ 62 h 605"/>
                <a:gd name="T8" fmla="*/ 62 w 605"/>
                <a:gd name="T9" fmla="*/ 605 h 605"/>
              </a:gdLst>
              <a:ahLst/>
              <a:cxnLst>
                <a:cxn ang="0">
                  <a:pos x="T0" y="T1"/>
                </a:cxn>
                <a:cxn ang="0">
                  <a:pos x="T2" y="T3"/>
                </a:cxn>
                <a:cxn ang="0">
                  <a:pos x="T4" y="T5"/>
                </a:cxn>
                <a:cxn ang="0">
                  <a:pos x="T6" y="T7"/>
                </a:cxn>
                <a:cxn ang="0">
                  <a:pos x="T8" y="T9"/>
                </a:cxn>
              </a:cxnLst>
              <a:rect l="0" t="0" r="r" b="b"/>
              <a:pathLst>
                <a:path w="605" h="605">
                  <a:moveTo>
                    <a:pt x="62" y="605"/>
                  </a:moveTo>
                  <a:cubicBezTo>
                    <a:pt x="41" y="584"/>
                    <a:pt x="20" y="562"/>
                    <a:pt x="0" y="543"/>
                  </a:cubicBezTo>
                  <a:cubicBezTo>
                    <a:pt x="182" y="362"/>
                    <a:pt x="363" y="180"/>
                    <a:pt x="543" y="0"/>
                  </a:cubicBezTo>
                  <a:cubicBezTo>
                    <a:pt x="562" y="19"/>
                    <a:pt x="584" y="41"/>
                    <a:pt x="605" y="62"/>
                  </a:cubicBezTo>
                  <a:cubicBezTo>
                    <a:pt x="425" y="241"/>
                    <a:pt x="244" y="423"/>
                    <a:pt x="62" y="6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8" name="Freeform 13">
              <a:extLst>
                <a:ext uri="{FF2B5EF4-FFF2-40B4-BE49-F238E27FC236}">
                  <a16:creationId xmlns:a16="http://schemas.microsoft.com/office/drawing/2014/main" id="{5D76E9F4-1D20-4843-8FE2-EE66D8D5556C}"/>
                </a:ext>
              </a:extLst>
            </p:cNvPr>
            <p:cNvSpPr>
              <a:spLocks/>
            </p:cNvSpPr>
            <p:nvPr/>
          </p:nvSpPr>
          <p:spPr bwMode="auto">
            <a:xfrm>
              <a:off x="643" y="1426"/>
              <a:ext cx="46" cy="45"/>
            </a:xfrm>
            <a:custGeom>
              <a:avLst/>
              <a:gdLst>
                <a:gd name="T0" fmla="*/ 413 w 477"/>
                <a:gd name="T1" fmla="*/ 0 h 471"/>
                <a:gd name="T2" fmla="*/ 477 w 477"/>
                <a:gd name="T3" fmla="*/ 68 h 471"/>
                <a:gd name="T4" fmla="*/ 447 w 477"/>
                <a:gd name="T5" fmla="*/ 94 h 471"/>
                <a:gd name="T6" fmla="*/ 89 w 477"/>
                <a:gd name="T7" fmla="*/ 448 h 471"/>
                <a:gd name="T8" fmla="*/ 39 w 477"/>
                <a:gd name="T9" fmla="*/ 448 h 471"/>
                <a:gd name="T10" fmla="*/ 36 w 477"/>
                <a:gd name="T11" fmla="*/ 377 h 471"/>
                <a:gd name="T12" fmla="*/ 396 w 477"/>
                <a:gd name="T13" fmla="*/ 14 h 471"/>
                <a:gd name="T14" fmla="*/ 413 w 477"/>
                <a:gd name="T15" fmla="*/ 0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7" h="471">
                  <a:moveTo>
                    <a:pt x="413" y="0"/>
                  </a:moveTo>
                  <a:cubicBezTo>
                    <a:pt x="434" y="22"/>
                    <a:pt x="453" y="43"/>
                    <a:pt x="477" y="68"/>
                  </a:cubicBezTo>
                  <a:cubicBezTo>
                    <a:pt x="468" y="76"/>
                    <a:pt x="457" y="84"/>
                    <a:pt x="447" y="94"/>
                  </a:cubicBezTo>
                  <a:cubicBezTo>
                    <a:pt x="328" y="212"/>
                    <a:pt x="208" y="330"/>
                    <a:pt x="89" y="448"/>
                  </a:cubicBezTo>
                  <a:cubicBezTo>
                    <a:pt x="65" y="471"/>
                    <a:pt x="64" y="471"/>
                    <a:pt x="39" y="448"/>
                  </a:cubicBezTo>
                  <a:cubicBezTo>
                    <a:pt x="1" y="414"/>
                    <a:pt x="0" y="413"/>
                    <a:pt x="36" y="377"/>
                  </a:cubicBezTo>
                  <a:cubicBezTo>
                    <a:pt x="156" y="256"/>
                    <a:pt x="276" y="135"/>
                    <a:pt x="396" y="14"/>
                  </a:cubicBezTo>
                  <a:cubicBezTo>
                    <a:pt x="401" y="9"/>
                    <a:pt x="406" y="5"/>
                    <a:pt x="4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9" name="Freeform 14">
              <a:extLst>
                <a:ext uri="{FF2B5EF4-FFF2-40B4-BE49-F238E27FC236}">
                  <a16:creationId xmlns:a16="http://schemas.microsoft.com/office/drawing/2014/main" id="{8D4FDD6E-116D-4881-ABA9-E491C7FF78B3}"/>
                </a:ext>
              </a:extLst>
            </p:cNvPr>
            <p:cNvSpPr>
              <a:spLocks/>
            </p:cNvSpPr>
            <p:nvPr/>
          </p:nvSpPr>
          <p:spPr bwMode="auto">
            <a:xfrm>
              <a:off x="624" y="1400"/>
              <a:ext cx="39" cy="38"/>
            </a:xfrm>
            <a:custGeom>
              <a:avLst/>
              <a:gdLst>
                <a:gd name="T0" fmla="*/ 66 w 406"/>
                <a:gd name="T1" fmla="*/ 400 h 400"/>
                <a:gd name="T2" fmla="*/ 0 w 406"/>
                <a:gd name="T3" fmla="*/ 335 h 400"/>
                <a:gd name="T4" fmla="*/ 4 w 406"/>
                <a:gd name="T5" fmla="*/ 329 h 400"/>
                <a:gd name="T6" fmla="*/ 319 w 406"/>
                <a:gd name="T7" fmla="*/ 19 h 400"/>
                <a:gd name="T8" fmla="*/ 362 w 406"/>
                <a:gd name="T9" fmla="*/ 18 h 400"/>
                <a:gd name="T10" fmla="*/ 367 w 406"/>
                <a:gd name="T11" fmla="*/ 96 h 400"/>
                <a:gd name="T12" fmla="*/ 74 w 406"/>
                <a:gd name="T13" fmla="*/ 394 h 400"/>
                <a:gd name="T14" fmla="*/ 66 w 406"/>
                <a:gd name="T15" fmla="*/ 40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6" h="400">
                  <a:moveTo>
                    <a:pt x="66" y="400"/>
                  </a:moveTo>
                  <a:cubicBezTo>
                    <a:pt x="43" y="378"/>
                    <a:pt x="22" y="357"/>
                    <a:pt x="0" y="335"/>
                  </a:cubicBezTo>
                  <a:cubicBezTo>
                    <a:pt x="2" y="333"/>
                    <a:pt x="3" y="331"/>
                    <a:pt x="4" y="329"/>
                  </a:cubicBezTo>
                  <a:cubicBezTo>
                    <a:pt x="109" y="226"/>
                    <a:pt x="214" y="122"/>
                    <a:pt x="319" y="19"/>
                  </a:cubicBezTo>
                  <a:cubicBezTo>
                    <a:pt x="339" y="0"/>
                    <a:pt x="341" y="0"/>
                    <a:pt x="362" y="18"/>
                  </a:cubicBezTo>
                  <a:cubicBezTo>
                    <a:pt x="405" y="55"/>
                    <a:pt x="406" y="56"/>
                    <a:pt x="367" y="96"/>
                  </a:cubicBezTo>
                  <a:cubicBezTo>
                    <a:pt x="269" y="196"/>
                    <a:pt x="171" y="295"/>
                    <a:pt x="74" y="394"/>
                  </a:cubicBezTo>
                  <a:cubicBezTo>
                    <a:pt x="71" y="396"/>
                    <a:pt x="69" y="398"/>
                    <a:pt x="66" y="4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0" name="Freeform 15">
              <a:extLst>
                <a:ext uri="{FF2B5EF4-FFF2-40B4-BE49-F238E27FC236}">
                  <a16:creationId xmlns:a16="http://schemas.microsoft.com/office/drawing/2014/main" id="{FB6ACA67-068E-461D-90A7-0D5D8A36F97E}"/>
                </a:ext>
              </a:extLst>
            </p:cNvPr>
            <p:cNvSpPr>
              <a:spLocks/>
            </p:cNvSpPr>
            <p:nvPr/>
          </p:nvSpPr>
          <p:spPr bwMode="auto">
            <a:xfrm>
              <a:off x="630" y="1471"/>
              <a:ext cx="13" cy="12"/>
            </a:xfrm>
            <a:custGeom>
              <a:avLst/>
              <a:gdLst>
                <a:gd name="T0" fmla="*/ 139 w 139"/>
                <a:gd name="T1" fmla="*/ 69 h 124"/>
                <a:gd name="T2" fmla="*/ 84 w 139"/>
                <a:gd name="T3" fmla="*/ 119 h 124"/>
                <a:gd name="T4" fmla="*/ 60 w 139"/>
                <a:gd name="T5" fmla="*/ 120 h 124"/>
                <a:gd name="T6" fmla="*/ 58 w 139"/>
                <a:gd name="T7" fmla="*/ 119 h 124"/>
                <a:gd name="T8" fmla="*/ 51 w 139"/>
                <a:gd name="T9" fmla="*/ 23 h 124"/>
                <a:gd name="T10" fmla="*/ 69 w 139"/>
                <a:gd name="T11" fmla="*/ 7 h 124"/>
                <a:gd name="T12" fmla="*/ 80 w 139"/>
                <a:gd name="T13" fmla="*/ 0 h 124"/>
                <a:gd name="T14" fmla="*/ 139 w 139"/>
                <a:gd name="T15" fmla="*/ 69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24">
                  <a:moveTo>
                    <a:pt x="139" y="69"/>
                  </a:moveTo>
                  <a:cubicBezTo>
                    <a:pt x="123" y="84"/>
                    <a:pt x="105" y="103"/>
                    <a:pt x="84" y="119"/>
                  </a:cubicBezTo>
                  <a:cubicBezTo>
                    <a:pt x="79" y="124"/>
                    <a:pt x="68" y="120"/>
                    <a:pt x="60" y="120"/>
                  </a:cubicBezTo>
                  <a:cubicBezTo>
                    <a:pt x="59" y="120"/>
                    <a:pt x="59" y="120"/>
                    <a:pt x="58" y="119"/>
                  </a:cubicBezTo>
                  <a:cubicBezTo>
                    <a:pt x="0" y="69"/>
                    <a:pt x="3" y="73"/>
                    <a:pt x="51" y="23"/>
                  </a:cubicBezTo>
                  <a:cubicBezTo>
                    <a:pt x="57" y="17"/>
                    <a:pt x="63" y="12"/>
                    <a:pt x="69" y="7"/>
                  </a:cubicBezTo>
                  <a:cubicBezTo>
                    <a:pt x="71" y="5"/>
                    <a:pt x="73" y="4"/>
                    <a:pt x="80" y="0"/>
                  </a:cubicBezTo>
                  <a:cubicBezTo>
                    <a:pt x="99" y="22"/>
                    <a:pt x="118" y="45"/>
                    <a:pt x="13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1" name="Freeform 16">
              <a:extLst>
                <a:ext uri="{FF2B5EF4-FFF2-40B4-BE49-F238E27FC236}">
                  <a16:creationId xmlns:a16="http://schemas.microsoft.com/office/drawing/2014/main" id="{A2F3D2A9-B293-431A-A47C-112060A4743A}"/>
                </a:ext>
              </a:extLst>
            </p:cNvPr>
            <p:cNvSpPr>
              <a:spLocks/>
            </p:cNvSpPr>
            <p:nvPr/>
          </p:nvSpPr>
          <p:spPr bwMode="auto">
            <a:xfrm>
              <a:off x="610" y="1439"/>
              <a:ext cx="14" cy="12"/>
            </a:xfrm>
            <a:custGeom>
              <a:avLst/>
              <a:gdLst>
                <a:gd name="T0" fmla="*/ 138 w 138"/>
                <a:gd name="T1" fmla="*/ 70 h 129"/>
                <a:gd name="T2" fmla="*/ 87 w 138"/>
                <a:gd name="T3" fmla="*/ 119 h 129"/>
                <a:gd name="T4" fmla="*/ 59 w 138"/>
                <a:gd name="T5" fmla="*/ 120 h 129"/>
                <a:gd name="T6" fmla="*/ 51 w 138"/>
                <a:gd name="T7" fmla="*/ 24 h 129"/>
                <a:gd name="T8" fmla="*/ 78 w 138"/>
                <a:gd name="T9" fmla="*/ 0 h 129"/>
                <a:gd name="T10" fmla="*/ 138 w 138"/>
                <a:gd name="T11" fmla="*/ 70 h 129"/>
              </a:gdLst>
              <a:ahLst/>
              <a:cxnLst>
                <a:cxn ang="0">
                  <a:pos x="T0" y="T1"/>
                </a:cxn>
                <a:cxn ang="0">
                  <a:pos x="T2" y="T3"/>
                </a:cxn>
                <a:cxn ang="0">
                  <a:pos x="T4" y="T5"/>
                </a:cxn>
                <a:cxn ang="0">
                  <a:pos x="T6" y="T7"/>
                </a:cxn>
                <a:cxn ang="0">
                  <a:pos x="T8" y="T9"/>
                </a:cxn>
                <a:cxn ang="0">
                  <a:pos x="T10" y="T11"/>
                </a:cxn>
              </a:cxnLst>
              <a:rect l="0" t="0" r="r" b="b"/>
              <a:pathLst>
                <a:path w="138" h="129">
                  <a:moveTo>
                    <a:pt x="138" y="70"/>
                  </a:moveTo>
                  <a:cubicBezTo>
                    <a:pt x="123" y="85"/>
                    <a:pt x="105" y="102"/>
                    <a:pt x="87" y="119"/>
                  </a:cubicBezTo>
                  <a:cubicBezTo>
                    <a:pt x="78" y="128"/>
                    <a:pt x="69" y="129"/>
                    <a:pt x="59" y="120"/>
                  </a:cubicBezTo>
                  <a:cubicBezTo>
                    <a:pt x="0" y="69"/>
                    <a:pt x="3" y="73"/>
                    <a:pt x="51" y="24"/>
                  </a:cubicBezTo>
                  <a:cubicBezTo>
                    <a:pt x="58" y="16"/>
                    <a:pt x="67" y="10"/>
                    <a:pt x="78" y="0"/>
                  </a:cubicBezTo>
                  <a:cubicBezTo>
                    <a:pt x="98" y="23"/>
                    <a:pt x="117" y="45"/>
                    <a:pt x="13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2" name="Freeform 17">
              <a:extLst>
                <a:ext uri="{FF2B5EF4-FFF2-40B4-BE49-F238E27FC236}">
                  <a16:creationId xmlns:a16="http://schemas.microsoft.com/office/drawing/2014/main" id="{32D0DE29-CEEB-4DBE-8441-0F2EC5F0908C}"/>
                </a:ext>
              </a:extLst>
            </p:cNvPr>
            <p:cNvSpPr>
              <a:spLocks/>
            </p:cNvSpPr>
            <p:nvPr/>
          </p:nvSpPr>
          <p:spPr bwMode="auto">
            <a:xfrm>
              <a:off x="605" y="1471"/>
              <a:ext cx="12" cy="12"/>
            </a:xfrm>
            <a:custGeom>
              <a:avLst/>
              <a:gdLst>
                <a:gd name="T0" fmla="*/ 60 w 128"/>
                <a:gd name="T1" fmla="*/ 0 h 125"/>
                <a:gd name="T2" fmla="*/ 79 w 128"/>
                <a:gd name="T3" fmla="*/ 16 h 125"/>
                <a:gd name="T4" fmla="*/ 128 w 128"/>
                <a:gd name="T5" fmla="*/ 63 h 125"/>
                <a:gd name="T6" fmla="*/ 61 w 128"/>
                <a:gd name="T7" fmla="*/ 125 h 125"/>
                <a:gd name="T8" fmla="*/ 0 w 128"/>
                <a:gd name="T9" fmla="*/ 66 h 125"/>
                <a:gd name="T10" fmla="*/ 60 w 128"/>
                <a:gd name="T11" fmla="*/ 0 h 125"/>
              </a:gdLst>
              <a:ahLst/>
              <a:cxnLst>
                <a:cxn ang="0">
                  <a:pos x="T0" y="T1"/>
                </a:cxn>
                <a:cxn ang="0">
                  <a:pos x="T2" y="T3"/>
                </a:cxn>
                <a:cxn ang="0">
                  <a:pos x="T4" y="T5"/>
                </a:cxn>
                <a:cxn ang="0">
                  <a:pos x="T6" y="T7"/>
                </a:cxn>
                <a:cxn ang="0">
                  <a:pos x="T8" y="T9"/>
                </a:cxn>
                <a:cxn ang="0">
                  <a:pos x="T10" y="T11"/>
                </a:cxn>
              </a:cxnLst>
              <a:rect l="0" t="0" r="r" b="b"/>
              <a:pathLst>
                <a:path w="128" h="125">
                  <a:moveTo>
                    <a:pt x="60" y="0"/>
                  </a:moveTo>
                  <a:cubicBezTo>
                    <a:pt x="69" y="7"/>
                    <a:pt x="74" y="11"/>
                    <a:pt x="79" y="16"/>
                  </a:cubicBezTo>
                  <a:cubicBezTo>
                    <a:pt x="96" y="31"/>
                    <a:pt x="112" y="47"/>
                    <a:pt x="128" y="63"/>
                  </a:cubicBezTo>
                  <a:cubicBezTo>
                    <a:pt x="104" y="85"/>
                    <a:pt x="82" y="106"/>
                    <a:pt x="61" y="125"/>
                  </a:cubicBezTo>
                  <a:cubicBezTo>
                    <a:pt x="43" y="108"/>
                    <a:pt x="22" y="87"/>
                    <a:pt x="0" y="66"/>
                  </a:cubicBezTo>
                  <a:cubicBezTo>
                    <a:pt x="19" y="45"/>
                    <a:pt x="39" y="23"/>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3" name="Freeform 18">
              <a:extLst>
                <a:ext uri="{FF2B5EF4-FFF2-40B4-BE49-F238E27FC236}">
                  <a16:creationId xmlns:a16="http://schemas.microsoft.com/office/drawing/2014/main" id="{AD7D05FE-EA1A-41A2-9F31-530A00894DCB}"/>
                </a:ext>
              </a:extLst>
            </p:cNvPr>
            <p:cNvSpPr>
              <a:spLocks noEditPoints="1"/>
            </p:cNvSpPr>
            <p:nvPr/>
          </p:nvSpPr>
          <p:spPr bwMode="auto">
            <a:xfrm>
              <a:off x="819" y="1215"/>
              <a:ext cx="60" cy="62"/>
            </a:xfrm>
            <a:custGeom>
              <a:avLst/>
              <a:gdLst>
                <a:gd name="T0" fmla="*/ 310 w 631"/>
                <a:gd name="T1" fmla="*/ 628 h 640"/>
                <a:gd name="T2" fmla="*/ 1 w 631"/>
                <a:gd name="T3" fmla="*/ 314 h 640"/>
                <a:gd name="T4" fmla="*/ 300 w 631"/>
                <a:gd name="T5" fmla="*/ 0 h 640"/>
                <a:gd name="T6" fmla="*/ 630 w 631"/>
                <a:gd name="T7" fmla="*/ 315 h 640"/>
                <a:gd name="T8" fmla="*/ 310 w 631"/>
                <a:gd name="T9" fmla="*/ 628 h 640"/>
                <a:gd name="T10" fmla="*/ 313 w 631"/>
                <a:gd name="T11" fmla="*/ 142 h 640"/>
                <a:gd name="T12" fmla="*/ 141 w 631"/>
                <a:gd name="T13" fmla="*/ 311 h 640"/>
                <a:gd name="T14" fmla="*/ 316 w 631"/>
                <a:gd name="T15" fmla="*/ 486 h 640"/>
                <a:gd name="T16" fmla="*/ 490 w 631"/>
                <a:gd name="T17" fmla="*/ 312 h 640"/>
                <a:gd name="T18" fmla="*/ 313 w 631"/>
                <a:gd name="T19" fmla="*/ 14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1" h="640">
                  <a:moveTo>
                    <a:pt x="310" y="628"/>
                  </a:moveTo>
                  <a:cubicBezTo>
                    <a:pt x="173" y="640"/>
                    <a:pt x="0" y="502"/>
                    <a:pt x="1" y="314"/>
                  </a:cubicBezTo>
                  <a:cubicBezTo>
                    <a:pt x="2" y="148"/>
                    <a:pt x="142" y="0"/>
                    <a:pt x="300" y="0"/>
                  </a:cubicBezTo>
                  <a:cubicBezTo>
                    <a:pt x="486" y="0"/>
                    <a:pt x="629" y="137"/>
                    <a:pt x="630" y="315"/>
                  </a:cubicBezTo>
                  <a:cubicBezTo>
                    <a:pt x="631" y="473"/>
                    <a:pt x="498" y="636"/>
                    <a:pt x="310" y="628"/>
                  </a:cubicBezTo>
                  <a:close/>
                  <a:moveTo>
                    <a:pt x="313" y="142"/>
                  </a:moveTo>
                  <a:cubicBezTo>
                    <a:pt x="219" y="142"/>
                    <a:pt x="141" y="219"/>
                    <a:pt x="141" y="311"/>
                  </a:cubicBezTo>
                  <a:cubicBezTo>
                    <a:pt x="142" y="409"/>
                    <a:pt x="219" y="487"/>
                    <a:pt x="316" y="486"/>
                  </a:cubicBezTo>
                  <a:cubicBezTo>
                    <a:pt x="414" y="485"/>
                    <a:pt x="491" y="408"/>
                    <a:pt x="490" y="312"/>
                  </a:cubicBezTo>
                  <a:cubicBezTo>
                    <a:pt x="490" y="217"/>
                    <a:pt x="411" y="141"/>
                    <a:pt x="313" y="142"/>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4" name="Freeform 19">
              <a:extLst>
                <a:ext uri="{FF2B5EF4-FFF2-40B4-BE49-F238E27FC236}">
                  <a16:creationId xmlns:a16="http://schemas.microsoft.com/office/drawing/2014/main" id="{8D03136C-9ED2-4E84-A6F4-495FAB58ABBF}"/>
                </a:ext>
              </a:extLst>
            </p:cNvPr>
            <p:cNvSpPr>
              <a:spLocks/>
            </p:cNvSpPr>
            <p:nvPr/>
          </p:nvSpPr>
          <p:spPr bwMode="auto">
            <a:xfrm>
              <a:off x="833" y="1229"/>
              <a:ext cx="33" cy="33"/>
            </a:xfrm>
            <a:custGeom>
              <a:avLst/>
              <a:gdLst>
                <a:gd name="T0" fmla="*/ 172 w 350"/>
                <a:gd name="T1" fmla="*/ 1 h 346"/>
                <a:gd name="T2" fmla="*/ 349 w 350"/>
                <a:gd name="T3" fmla="*/ 171 h 346"/>
                <a:gd name="T4" fmla="*/ 175 w 350"/>
                <a:gd name="T5" fmla="*/ 345 h 346"/>
                <a:gd name="T6" fmla="*/ 0 w 350"/>
                <a:gd name="T7" fmla="*/ 170 h 346"/>
                <a:gd name="T8" fmla="*/ 172 w 350"/>
                <a:gd name="T9" fmla="*/ 1 h 346"/>
              </a:gdLst>
              <a:ahLst/>
              <a:cxnLst>
                <a:cxn ang="0">
                  <a:pos x="T0" y="T1"/>
                </a:cxn>
                <a:cxn ang="0">
                  <a:pos x="T2" y="T3"/>
                </a:cxn>
                <a:cxn ang="0">
                  <a:pos x="T4" y="T5"/>
                </a:cxn>
                <a:cxn ang="0">
                  <a:pos x="T6" y="T7"/>
                </a:cxn>
                <a:cxn ang="0">
                  <a:pos x="T8" y="T9"/>
                </a:cxn>
              </a:cxnLst>
              <a:rect l="0" t="0" r="r" b="b"/>
              <a:pathLst>
                <a:path w="350" h="346">
                  <a:moveTo>
                    <a:pt x="172" y="1"/>
                  </a:moveTo>
                  <a:cubicBezTo>
                    <a:pt x="270" y="0"/>
                    <a:pt x="349" y="76"/>
                    <a:pt x="349" y="171"/>
                  </a:cubicBezTo>
                  <a:cubicBezTo>
                    <a:pt x="350" y="267"/>
                    <a:pt x="273" y="344"/>
                    <a:pt x="175" y="345"/>
                  </a:cubicBezTo>
                  <a:cubicBezTo>
                    <a:pt x="78" y="346"/>
                    <a:pt x="1" y="268"/>
                    <a:pt x="0" y="170"/>
                  </a:cubicBezTo>
                  <a:cubicBezTo>
                    <a:pt x="0" y="78"/>
                    <a:pt x="78" y="1"/>
                    <a:pt x="172"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grpSp>
      <p:sp>
        <p:nvSpPr>
          <p:cNvPr id="40" name="TextBox 39">
            <a:extLst>
              <a:ext uri="{FF2B5EF4-FFF2-40B4-BE49-F238E27FC236}">
                <a16:creationId xmlns:a16="http://schemas.microsoft.com/office/drawing/2014/main" id="{6A7E64BB-08EE-440C-BBB9-618A654C3DAB}"/>
              </a:ext>
            </a:extLst>
          </p:cNvPr>
          <p:cNvSpPr txBox="1"/>
          <p:nvPr/>
        </p:nvSpPr>
        <p:spPr>
          <a:xfrm>
            <a:off x="2849323" y="3312645"/>
            <a:ext cx="1628749" cy="215444"/>
          </a:xfrm>
          <a:prstGeom prst="rect">
            <a:avLst/>
          </a:prstGeom>
          <a:noFill/>
        </p:spPr>
        <p:txBody>
          <a:bodyPr wrap="square" lIns="0" tIns="0" rIns="0" bIns="0" rtlCol="0">
            <a:spAutoFit/>
          </a:bodyPr>
          <a:lstStyle/>
          <a:p>
            <a:pPr>
              <a:spcAft>
                <a:spcPts val="200"/>
              </a:spcAft>
              <a:defRPr/>
            </a:pPr>
            <a:r>
              <a:rPr lang="en-US" sz="1400" b="1" dirty="0">
                <a:solidFill>
                  <a:prstClr val="white"/>
                </a:solidFill>
                <a:latin typeface="Arial"/>
                <a:ea typeface="+mj-ea"/>
                <a:cs typeface="Arial" panose="020B0604020202020204" pitchFamily="34" charset="0"/>
              </a:rPr>
              <a:t>Privately Held</a:t>
            </a:r>
            <a:endParaRPr lang="en-US" sz="1400" dirty="0">
              <a:solidFill>
                <a:schemeClr val="bg1"/>
              </a:solidFill>
              <a:ea typeface="+mj-ea"/>
              <a:cs typeface="Arial" panose="020B0604020202020204" pitchFamily="34" charset="0"/>
            </a:endParaRPr>
          </a:p>
        </p:txBody>
      </p:sp>
      <p:pic>
        <p:nvPicPr>
          <p:cNvPr id="42" name="Graphic 41" descr="Coins">
            <a:extLst>
              <a:ext uri="{FF2B5EF4-FFF2-40B4-BE49-F238E27FC236}">
                <a16:creationId xmlns:a16="http://schemas.microsoft.com/office/drawing/2014/main" id="{F5D6E8D4-74F4-474B-8E3D-4CF29BCC18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86622" y="2849317"/>
            <a:ext cx="765232" cy="766300"/>
          </a:xfrm>
          <a:prstGeom prst="rect">
            <a:avLst/>
          </a:prstGeom>
        </p:spPr>
      </p:pic>
      <p:sp>
        <p:nvSpPr>
          <p:cNvPr id="43" name="Rectangle 42">
            <a:extLst>
              <a:ext uri="{FF2B5EF4-FFF2-40B4-BE49-F238E27FC236}">
                <a16:creationId xmlns:a16="http://schemas.microsoft.com/office/drawing/2014/main" id="{4E7C1557-195C-4156-8A5B-78CE5D7BB96D}"/>
              </a:ext>
            </a:extLst>
          </p:cNvPr>
          <p:cNvSpPr>
            <a:spLocks/>
          </p:cNvSpPr>
          <p:nvPr/>
        </p:nvSpPr>
        <p:spPr>
          <a:xfrm>
            <a:off x="2780569" y="1777871"/>
            <a:ext cx="2071284" cy="914401"/>
          </a:xfrm>
          <a:prstGeom prst="rect">
            <a:avLst/>
          </a:prstGeom>
          <a:noFill/>
          <a:ln w="1270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a:tabLst>
                <a:tab pos="1885950" algn="r"/>
              </a:tabLst>
            </a:pPr>
            <a:r>
              <a:rPr lang="en-GB" sz="1000" b="1" dirty="0">
                <a:solidFill>
                  <a:srgbClr val="00338D"/>
                </a:solidFill>
                <a:cs typeface="Arial" panose="020B0604020202020204" pitchFamily="34" charset="0"/>
              </a:rPr>
              <a:t>	Headquarters</a:t>
            </a:r>
          </a:p>
        </p:txBody>
      </p:sp>
      <p:grpSp>
        <p:nvGrpSpPr>
          <p:cNvPr id="44" name="Group 43">
            <a:extLst>
              <a:ext uri="{FF2B5EF4-FFF2-40B4-BE49-F238E27FC236}">
                <a16:creationId xmlns:a16="http://schemas.microsoft.com/office/drawing/2014/main" id="{D790586E-A7F4-494D-BFE0-2822B8D33E20}"/>
              </a:ext>
            </a:extLst>
          </p:cNvPr>
          <p:cNvGrpSpPr/>
          <p:nvPr/>
        </p:nvGrpSpPr>
        <p:grpSpPr>
          <a:xfrm>
            <a:off x="2901277" y="1965164"/>
            <a:ext cx="673067" cy="470200"/>
            <a:chOff x="3214943" y="1667873"/>
            <a:chExt cx="616731" cy="510633"/>
          </a:xfrm>
          <a:solidFill>
            <a:srgbClr val="00338D"/>
          </a:solidFill>
        </p:grpSpPr>
        <p:grpSp>
          <p:nvGrpSpPr>
            <p:cNvPr id="45" name="Group 44">
              <a:extLst>
                <a:ext uri="{FF2B5EF4-FFF2-40B4-BE49-F238E27FC236}">
                  <a16:creationId xmlns:a16="http://schemas.microsoft.com/office/drawing/2014/main" id="{AEA41A9A-56C3-4676-B0B5-9F7117D48C8E}"/>
                </a:ext>
              </a:extLst>
            </p:cNvPr>
            <p:cNvGrpSpPr/>
            <p:nvPr/>
          </p:nvGrpSpPr>
          <p:grpSpPr>
            <a:xfrm>
              <a:off x="3214943" y="1850819"/>
              <a:ext cx="226647" cy="327676"/>
              <a:chOff x="3802859" y="2718412"/>
              <a:chExt cx="131763" cy="190499"/>
            </a:xfrm>
            <a:grpFill/>
          </p:grpSpPr>
          <p:sp>
            <p:nvSpPr>
              <p:cNvPr id="57" name="Freeform 2547">
                <a:extLst>
                  <a:ext uri="{FF2B5EF4-FFF2-40B4-BE49-F238E27FC236}">
                    <a16:creationId xmlns:a16="http://schemas.microsoft.com/office/drawing/2014/main" id="{EB401A61-3E59-42F4-82EC-B4A7ADF25568}"/>
                  </a:ext>
                </a:extLst>
              </p:cNvPr>
              <p:cNvSpPr>
                <a:spLocks noEditPoints="1"/>
              </p:cNvSpPr>
              <p:nvPr/>
            </p:nvSpPr>
            <p:spPr bwMode="auto">
              <a:xfrm>
                <a:off x="3829846" y="2718412"/>
                <a:ext cx="77788" cy="171450"/>
              </a:xfrm>
              <a:custGeom>
                <a:avLst/>
                <a:gdLst>
                  <a:gd name="T0" fmla="*/ 37 w 49"/>
                  <a:gd name="T1" fmla="*/ 99 h 108"/>
                  <a:gd name="T2" fmla="*/ 37 w 49"/>
                  <a:gd name="T3" fmla="*/ 108 h 108"/>
                  <a:gd name="T4" fmla="*/ 49 w 49"/>
                  <a:gd name="T5" fmla="*/ 108 h 108"/>
                  <a:gd name="T6" fmla="*/ 49 w 49"/>
                  <a:gd name="T7" fmla="*/ 0 h 108"/>
                  <a:gd name="T8" fmla="*/ 0 w 49"/>
                  <a:gd name="T9" fmla="*/ 0 h 108"/>
                  <a:gd name="T10" fmla="*/ 0 w 49"/>
                  <a:gd name="T11" fmla="*/ 7 h 108"/>
                  <a:gd name="T12" fmla="*/ 45 w 49"/>
                  <a:gd name="T13" fmla="*/ 7 h 108"/>
                  <a:gd name="T14" fmla="*/ 45 w 49"/>
                  <a:gd name="T15" fmla="*/ 14 h 108"/>
                  <a:gd name="T16" fmla="*/ 0 w 49"/>
                  <a:gd name="T17" fmla="*/ 14 h 108"/>
                  <a:gd name="T18" fmla="*/ 0 w 49"/>
                  <a:gd name="T19" fmla="*/ 108 h 108"/>
                  <a:gd name="T20" fmla="*/ 11 w 49"/>
                  <a:gd name="T21" fmla="*/ 108 h 108"/>
                  <a:gd name="T22" fmla="*/ 11 w 49"/>
                  <a:gd name="T23" fmla="*/ 99 h 108"/>
                  <a:gd name="T24" fmla="*/ 37 w 49"/>
                  <a:gd name="T25" fmla="*/ 99 h 108"/>
                  <a:gd name="T26" fmla="*/ 28 w 49"/>
                  <a:gd name="T27" fmla="*/ 23 h 108"/>
                  <a:gd name="T28" fmla="*/ 45 w 49"/>
                  <a:gd name="T29" fmla="*/ 23 h 108"/>
                  <a:gd name="T30" fmla="*/ 45 w 49"/>
                  <a:gd name="T31" fmla="*/ 37 h 108"/>
                  <a:gd name="T32" fmla="*/ 28 w 49"/>
                  <a:gd name="T33" fmla="*/ 37 h 108"/>
                  <a:gd name="T34" fmla="*/ 28 w 49"/>
                  <a:gd name="T35" fmla="*/ 23 h 108"/>
                  <a:gd name="T36" fmla="*/ 28 w 49"/>
                  <a:gd name="T37" fmla="*/ 49 h 108"/>
                  <a:gd name="T38" fmla="*/ 45 w 49"/>
                  <a:gd name="T39" fmla="*/ 49 h 108"/>
                  <a:gd name="T40" fmla="*/ 45 w 49"/>
                  <a:gd name="T41" fmla="*/ 63 h 108"/>
                  <a:gd name="T42" fmla="*/ 28 w 49"/>
                  <a:gd name="T43" fmla="*/ 63 h 108"/>
                  <a:gd name="T44" fmla="*/ 28 w 49"/>
                  <a:gd name="T45" fmla="*/ 49 h 108"/>
                  <a:gd name="T46" fmla="*/ 28 w 49"/>
                  <a:gd name="T47" fmla="*/ 75 h 108"/>
                  <a:gd name="T48" fmla="*/ 45 w 49"/>
                  <a:gd name="T49" fmla="*/ 75 h 108"/>
                  <a:gd name="T50" fmla="*/ 45 w 49"/>
                  <a:gd name="T51" fmla="*/ 89 h 108"/>
                  <a:gd name="T52" fmla="*/ 28 w 49"/>
                  <a:gd name="T53" fmla="*/ 89 h 108"/>
                  <a:gd name="T54" fmla="*/ 28 w 49"/>
                  <a:gd name="T55" fmla="*/ 75 h 108"/>
                  <a:gd name="T56" fmla="*/ 4 w 49"/>
                  <a:gd name="T57" fmla="*/ 23 h 108"/>
                  <a:gd name="T58" fmla="*/ 21 w 49"/>
                  <a:gd name="T59" fmla="*/ 23 h 108"/>
                  <a:gd name="T60" fmla="*/ 21 w 49"/>
                  <a:gd name="T61" fmla="*/ 37 h 108"/>
                  <a:gd name="T62" fmla="*/ 4 w 49"/>
                  <a:gd name="T63" fmla="*/ 37 h 108"/>
                  <a:gd name="T64" fmla="*/ 4 w 49"/>
                  <a:gd name="T65" fmla="*/ 23 h 108"/>
                  <a:gd name="T66" fmla="*/ 4 w 49"/>
                  <a:gd name="T67" fmla="*/ 49 h 108"/>
                  <a:gd name="T68" fmla="*/ 21 w 49"/>
                  <a:gd name="T69" fmla="*/ 49 h 108"/>
                  <a:gd name="T70" fmla="*/ 21 w 49"/>
                  <a:gd name="T71" fmla="*/ 63 h 108"/>
                  <a:gd name="T72" fmla="*/ 4 w 49"/>
                  <a:gd name="T73" fmla="*/ 63 h 108"/>
                  <a:gd name="T74" fmla="*/ 4 w 49"/>
                  <a:gd name="T75" fmla="*/ 49 h 108"/>
                  <a:gd name="T76" fmla="*/ 4 w 49"/>
                  <a:gd name="T77" fmla="*/ 89 h 108"/>
                  <a:gd name="T78" fmla="*/ 4 w 49"/>
                  <a:gd name="T79" fmla="*/ 75 h 108"/>
                  <a:gd name="T80" fmla="*/ 21 w 49"/>
                  <a:gd name="T81" fmla="*/ 75 h 108"/>
                  <a:gd name="T82" fmla="*/ 21 w 49"/>
                  <a:gd name="T83" fmla="*/ 89 h 108"/>
                  <a:gd name="T84" fmla="*/ 4 w 49"/>
                  <a:gd name="T85"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108">
                    <a:moveTo>
                      <a:pt x="37" y="99"/>
                    </a:moveTo>
                    <a:lnTo>
                      <a:pt x="37" y="108"/>
                    </a:lnTo>
                    <a:lnTo>
                      <a:pt x="49" y="108"/>
                    </a:lnTo>
                    <a:lnTo>
                      <a:pt x="49" y="0"/>
                    </a:lnTo>
                    <a:lnTo>
                      <a:pt x="0" y="0"/>
                    </a:lnTo>
                    <a:lnTo>
                      <a:pt x="0" y="7"/>
                    </a:lnTo>
                    <a:lnTo>
                      <a:pt x="45" y="7"/>
                    </a:lnTo>
                    <a:lnTo>
                      <a:pt x="45" y="14"/>
                    </a:lnTo>
                    <a:lnTo>
                      <a:pt x="0" y="14"/>
                    </a:lnTo>
                    <a:lnTo>
                      <a:pt x="0" y="108"/>
                    </a:lnTo>
                    <a:lnTo>
                      <a:pt x="11" y="108"/>
                    </a:lnTo>
                    <a:lnTo>
                      <a:pt x="11" y="99"/>
                    </a:lnTo>
                    <a:lnTo>
                      <a:pt x="37" y="99"/>
                    </a:lnTo>
                    <a:moveTo>
                      <a:pt x="28" y="23"/>
                    </a:moveTo>
                    <a:lnTo>
                      <a:pt x="45" y="23"/>
                    </a:lnTo>
                    <a:lnTo>
                      <a:pt x="45" y="37"/>
                    </a:lnTo>
                    <a:lnTo>
                      <a:pt x="28" y="37"/>
                    </a:lnTo>
                    <a:lnTo>
                      <a:pt x="28" y="23"/>
                    </a:lnTo>
                    <a:moveTo>
                      <a:pt x="28" y="49"/>
                    </a:moveTo>
                    <a:lnTo>
                      <a:pt x="45" y="49"/>
                    </a:lnTo>
                    <a:lnTo>
                      <a:pt x="45" y="63"/>
                    </a:lnTo>
                    <a:lnTo>
                      <a:pt x="28" y="63"/>
                    </a:lnTo>
                    <a:lnTo>
                      <a:pt x="28" y="49"/>
                    </a:lnTo>
                    <a:moveTo>
                      <a:pt x="28" y="75"/>
                    </a:moveTo>
                    <a:lnTo>
                      <a:pt x="45" y="75"/>
                    </a:lnTo>
                    <a:lnTo>
                      <a:pt x="45" y="89"/>
                    </a:lnTo>
                    <a:lnTo>
                      <a:pt x="28" y="89"/>
                    </a:lnTo>
                    <a:lnTo>
                      <a:pt x="28" y="75"/>
                    </a:lnTo>
                    <a:moveTo>
                      <a:pt x="4" y="23"/>
                    </a:moveTo>
                    <a:lnTo>
                      <a:pt x="21" y="23"/>
                    </a:lnTo>
                    <a:lnTo>
                      <a:pt x="21" y="37"/>
                    </a:lnTo>
                    <a:lnTo>
                      <a:pt x="4" y="37"/>
                    </a:lnTo>
                    <a:lnTo>
                      <a:pt x="4" y="23"/>
                    </a:lnTo>
                    <a:moveTo>
                      <a:pt x="4" y="49"/>
                    </a:moveTo>
                    <a:lnTo>
                      <a:pt x="21" y="49"/>
                    </a:lnTo>
                    <a:lnTo>
                      <a:pt x="21" y="63"/>
                    </a:lnTo>
                    <a:lnTo>
                      <a:pt x="4" y="63"/>
                    </a:lnTo>
                    <a:lnTo>
                      <a:pt x="4" y="49"/>
                    </a:lnTo>
                    <a:moveTo>
                      <a:pt x="4" y="89"/>
                    </a:moveTo>
                    <a:lnTo>
                      <a:pt x="4" y="75"/>
                    </a:lnTo>
                    <a:lnTo>
                      <a:pt x="21" y="75"/>
                    </a:lnTo>
                    <a:lnTo>
                      <a:pt x="21" y="89"/>
                    </a:lnTo>
                    <a:lnTo>
                      <a:pt x="4" y="8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9" name="Freeform 2549">
                <a:extLst>
                  <a:ext uri="{FF2B5EF4-FFF2-40B4-BE49-F238E27FC236}">
                    <a16:creationId xmlns:a16="http://schemas.microsoft.com/office/drawing/2014/main" id="{B1B7A9A9-EDA4-45F1-8758-8B8630CE5602}"/>
                  </a:ext>
                </a:extLst>
              </p:cNvPr>
              <p:cNvSpPr>
                <a:spLocks/>
              </p:cNvSpPr>
              <p:nvPr/>
            </p:nvSpPr>
            <p:spPr bwMode="auto">
              <a:xfrm>
                <a:off x="3802859" y="2889861"/>
                <a:ext cx="131763" cy="19050"/>
              </a:xfrm>
              <a:custGeom>
                <a:avLst/>
                <a:gdLst>
                  <a:gd name="T0" fmla="*/ 54 w 83"/>
                  <a:gd name="T1" fmla="*/ 0 h 12"/>
                  <a:gd name="T2" fmla="*/ 54 w 83"/>
                  <a:gd name="T3" fmla="*/ 0 h 12"/>
                  <a:gd name="T4" fmla="*/ 28 w 83"/>
                  <a:gd name="T5" fmla="*/ 0 h 12"/>
                  <a:gd name="T6" fmla="*/ 28 w 83"/>
                  <a:gd name="T7" fmla="*/ 0 h 12"/>
                  <a:gd name="T8" fmla="*/ 0 w 83"/>
                  <a:gd name="T9" fmla="*/ 0 h 12"/>
                  <a:gd name="T10" fmla="*/ 0 w 83"/>
                  <a:gd name="T11" fmla="*/ 12 h 12"/>
                  <a:gd name="T12" fmla="*/ 83 w 83"/>
                  <a:gd name="T13" fmla="*/ 12 h 12"/>
                  <a:gd name="T14" fmla="*/ 83 w 83"/>
                  <a:gd name="T15" fmla="*/ 0 h 12"/>
                  <a:gd name="T16" fmla="*/ 54 w 8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
                    <a:moveTo>
                      <a:pt x="54" y="0"/>
                    </a:moveTo>
                    <a:lnTo>
                      <a:pt x="54" y="0"/>
                    </a:lnTo>
                    <a:lnTo>
                      <a:pt x="28" y="0"/>
                    </a:lnTo>
                    <a:lnTo>
                      <a:pt x="28" y="0"/>
                    </a:lnTo>
                    <a:lnTo>
                      <a:pt x="0" y="0"/>
                    </a:lnTo>
                    <a:lnTo>
                      <a:pt x="0" y="12"/>
                    </a:lnTo>
                    <a:lnTo>
                      <a:pt x="83" y="12"/>
                    </a:lnTo>
                    <a:lnTo>
                      <a:pt x="83" y="0"/>
                    </a:lnTo>
                    <a:lnTo>
                      <a:pt x="5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grpSp>
        <p:grpSp>
          <p:nvGrpSpPr>
            <p:cNvPr id="46" name="Group 45">
              <a:extLst>
                <a:ext uri="{FF2B5EF4-FFF2-40B4-BE49-F238E27FC236}">
                  <a16:creationId xmlns:a16="http://schemas.microsoft.com/office/drawing/2014/main" id="{5A69C277-BEFE-4DBA-9B30-D077FEF64F53}"/>
                </a:ext>
              </a:extLst>
            </p:cNvPr>
            <p:cNvGrpSpPr/>
            <p:nvPr/>
          </p:nvGrpSpPr>
          <p:grpSpPr>
            <a:xfrm flipH="1">
              <a:off x="3424805" y="1667873"/>
              <a:ext cx="406869" cy="510633"/>
              <a:chOff x="5204620" y="2612049"/>
              <a:chExt cx="236537" cy="296863"/>
            </a:xfrm>
            <a:grpFill/>
          </p:grpSpPr>
          <p:sp>
            <p:nvSpPr>
              <p:cNvPr id="48" name="Freeform 2547">
                <a:extLst>
                  <a:ext uri="{FF2B5EF4-FFF2-40B4-BE49-F238E27FC236}">
                    <a16:creationId xmlns:a16="http://schemas.microsoft.com/office/drawing/2014/main" id="{B494897F-5469-4553-8CAC-43AAD7BCD823}"/>
                  </a:ext>
                </a:extLst>
              </p:cNvPr>
              <p:cNvSpPr>
                <a:spLocks noEditPoints="1"/>
              </p:cNvSpPr>
              <p:nvPr/>
            </p:nvSpPr>
            <p:spPr bwMode="auto">
              <a:xfrm>
                <a:off x="5231608" y="2718412"/>
                <a:ext cx="77788" cy="171450"/>
              </a:xfrm>
              <a:custGeom>
                <a:avLst/>
                <a:gdLst>
                  <a:gd name="T0" fmla="*/ 37 w 49"/>
                  <a:gd name="T1" fmla="*/ 99 h 108"/>
                  <a:gd name="T2" fmla="*/ 37 w 49"/>
                  <a:gd name="T3" fmla="*/ 108 h 108"/>
                  <a:gd name="T4" fmla="*/ 49 w 49"/>
                  <a:gd name="T5" fmla="*/ 108 h 108"/>
                  <a:gd name="T6" fmla="*/ 49 w 49"/>
                  <a:gd name="T7" fmla="*/ 0 h 108"/>
                  <a:gd name="T8" fmla="*/ 0 w 49"/>
                  <a:gd name="T9" fmla="*/ 0 h 108"/>
                  <a:gd name="T10" fmla="*/ 0 w 49"/>
                  <a:gd name="T11" fmla="*/ 7 h 108"/>
                  <a:gd name="T12" fmla="*/ 45 w 49"/>
                  <a:gd name="T13" fmla="*/ 7 h 108"/>
                  <a:gd name="T14" fmla="*/ 45 w 49"/>
                  <a:gd name="T15" fmla="*/ 14 h 108"/>
                  <a:gd name="T16" fmla="*/ 0 w 49"/>
                  <a:gd name="T17" fmla="*/ 14 h 108"/>
                  <a:gd name="T18" fmla="*/ 0 w 49"/>
                  <a:gd name="T19" fmla="*/ 108 h 108"/>
                  <a:gd name="T20" fmla="*/ 11 w 49"/>
                  <a:gd name="T21" fmla="*/ 108 h 108"/>
                  <a:gd name="T22" fmla="*/ 11 w 49"/>
                  <a:gd name="T23" fmla="*/ 99 h 108"/>
                  <a:gd name="T24" fmla="*/ 37 w 49"/>
                  <a:gd name="T25" fmla="*/ 99 h 108"/>
                  <a:gd name="T26" fmla="*/ 28 w 49"/>
                  <a:gd name="T27" fmla="*/ 23 h 108"/>
                  <a:gd name="T28" fmla="*/ 45 w 49"/>
                  <a:gd name="T29" fmla="*/ 23 h 108"/>
                  <a:gd name="T30" fmla="*/ 45 w 49"/>
                  <a:gd name="T31" fmla="*/ 37 h 108"/>
                  <a:gd name="T32" fmla="*/ 28 w 49"/>
                  <a:gd name="T33" fmla="*/ 37 h 108"/>
                  <a:gd name="T34" fmla="*/ 28 w 49"/>
                  <a:gd name="T35" fmla="*/ 23 h 108"/>
                  <a:gd name="T36" fmla="*/ 28 w 49"/>
                  <a:gd name="T37" fmla="*/ 49 h 108"/>
                  <a:gd name="T38" fmla="*/ 45 w 49"/>
                  <a:gd name="T39" fmla="*/ 49 h 108"/>
                  <a:gd name="T40" fmla="*/ 45 w 49"/>
                  <a:gd name="T41" fmla="*/ 63 h 108"/>
                  <a:gd name="T42" fmla="*/ 28 w 49"/>
                  <a:gd name="T43" fmla="*/ 63 h 108"/>
                  <a:gd name="T44" fmla="*/ 28 w 49"/>
                  <a:gd name="T45" fmla="*/ 49 h 108"/>
                  <a:gd name="T46" fmla="*/ 28 w 49"/>
                  <a:gd name="T47" fmla="*/ 75 h 108"/>
                  <a:gd name="T48" fmla="*/ 45 w 49"/>
                  <a:gd name="T49" fmla="*/ 75 h 108"/>
                  <a:gd name="T50" fmla="*/ 45 w 49"/>
                  <a:gd name="T51" fmla="*/ 89 h 108"/>
                  <a:gd name="T52" fmla="*/ 28 w 49"/>
                  <a:gd name="T53" fmla="*/ 89 h 108"/>
                  <a:gd name="T54" fmla="*/ 28 w 49"/>
                  <a:gd name="T55" fmla="*/ 75 h 108"/>
                  <a:gd name="T56" fmla="*/ 4 w 49"/>
                  <a:gd name="T57" fmla="*/ 23 h 108"/>
                  <a:gd name="T58" fmla="*/ 21 w 49"/>
                  <a:gd name="T59" fmla="*/ 23 h 108"/>
                  <a:gd name="T60" fmla="*/ 21 w 49"/>
                  <a:gd name="T61" fmla="*/ 37 h 108"/>
                  <a:gd name="T62" fmla="*/ 4 w 49"/>
                  <a:gd name="T63" fmla="*/ 37 h 108"/>
                  <a:gd name="T64" fmla="*/ 4 w 49"/>
                  <a:gd name="T65" fmla="*/ 23 h 108"/>
                  <a:gd name="T66" fmla="*/ 4 w 49"/>
                  <a:gd name="T67" fmla="*/ 49 h 108"/>
                  <a:gd name="T68" fmla="*/ 21 w 49"/>
                  <a:gd name="T69" fmla="*/ 49 h 108"/>
                  <a:gd name="T70" fmla="*/ 21 w 49"/>
                  <a:gd name="T71" fmla="*/ 63 h 108"/>
                  <a:gd name="T72" fmla="*/ 4 w 49"/>
                  <a:gd name="T73" fmla="*/ 63 h 108"/>
                  <a:gd name="T74" fmla="*/ 4 w 49"/>
                  <a:gd name="T75" fmla="*/ 49 h 108"/>
                  <a:gd name="T76" fmla="*/ 4 w 49"/>
                  <a:gd name="T77" fmla="*/ 89 h 108"/>
                  <a:gd name="T78" fmla="*/ 4 w 49"/>
                  <a:gd name="T79" fmla="*/ 75 h 108"/>
                  <a:gd name="T80" fmla="*/ 21 w 49"/>
                  <a:gd name="T81" fmla="*/ 75 h 108"/>
                  <a:gd name="T82" fmla="*/ 21 w 49"/>
                  <a:gd name="T83" fmla="*/ 89 h 108"/>
                  <a:gd name="T84" fmla="*/ 4 w 49"/>
                  <a:gd name="T85"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108">
                    <a:moveTo>
                      <a:pt x="37" y="99"/>
                    </a:moveTo>
                    <a:lnTo>
                      <a:pt x="37" y="108"/>
                    </a:lnTo>
                    <a:lnTo>
                      <a:pt x="49" y="108"/>
                    </a:lnTo>
                    <a:lnTo>
                      <a:pt x="49" y="0"/>
                    </a:lnTo>
                    <a:lnTo>
                      <a:pt x="0" y="0"/>
                    </a:lnTo>
                    <a:lnTo>
                      <a:pt x="0" y="7"/>
                    </a:lnTo>
                    <a:lnTo>
                      <a:pt x="45" y="7"/>
                    </a:lnTo>
                    <a:lnTo>
                      <a:pt x="45" y="14"/>
                    </a:lnTo>
                    <a:lnTo>
                      <a:pt x="0" y="14"/>
                    </a:lnTo>
                    <a:lnTo>
                      <a:pt x="0" y="108"/>
                    </a:lnTo>
                    <a:lnTo>
                      <a:pt x="11" y="108"/>
                    </a:lnTo>
                    <a:lnTo>
                      <a:pt x="11" y="99"/>
                    </a:lnTo>
                    <a:lnTo>
                      <a:pt x="37" y="99"/>
                    </a:lnTo>
                    <a:moveTo>
                      <a:pt x="28" y="23"/>
                    </a:moveTo>
                    <a:lnTo>
                      <a:pt x="45" y="23"/>
                    </a:lnTo>
                    <a:lnTo>
                      <a:pt x="45" y="37"/>
                    </a:lnTo>
                    <a:lnTo>
                      <a:pt x="28" y="37"/>
                    </a:lnTo>
                    <a:lnTo>
                      <a:pt x="28" y="23"/>
                    </a:lnTo>
                    <a:moveTo>
                      <a:pt x="28" y="49"/>
                    </a:moveTo>
                    <a:lnTo>
                      <a:pt x="45" y="49"/>
                    </a:lnTo>
                    <a:lnTo>
                      <a:pt x="45" y="63"/>
                    </a:lnTo>
                    <a:lnTo>
                      <a:pt x="28" y="63"/>
                    </a:lnTo>
                    <a:lnTo>
                      <a:pt x="28" y="49"/>
                    </a:lnTo>
                    <a:moveTo>
                      <a:pt x="28" y="75"/>
                    </a:moveTo>
                    <a:lnTo>
                      <a:pt x="45" y="75"/>
                    </a:lnTo>
                    <a:lnTo>
                      <a:pt x="45" y="89"/>
                    </a:lnTo>
                    <a:lnTo>
                      <a:pt x="28" y="89"/>
                    </a:lnTo>
                    <a:lnTo>
                      <a:pt x="28" y="75"/>
                    </a:lnTo>
                    <a:moveTo>
                      <a:pt x="4" y="23"/>
                    </a:moveTo>
                    <a:lnTo>
                      <a:pt x="21" y="23"/>
                    </a:lnTo>
                    <a:lnTo>
                      <a:pt x="21" y="37"/>
                    </a:lnTo>
                    <a:lnTo>
                      <a:pt x="4" y="37"/>
                    </a:lnTo>
                    <a:lnTo>
                      <a:pt x="4" y="23"/>
                    </a:lnTo>
                    <a:moveTo>
                      <a:pt x="4" y="49"/>
                    </a:moveTo>
                    <a:lnTo>
                      <a:pt x="21" y="49"/>
                    </a:lnTo>
                    <a:lnTo>
                      <a:pt x="21" y="63"/>
                    </a:lnTo>
                    <a:lnTo>
                      <a:pt x="4" y="63"/>
                    </a:lnTo>
                    <a:lnTo>
                      <a:pt x="4" y="49"/>
                    </a:lnTo>
                    <a:moveTo>
                      <a:pt x="4" y="89"/>
                    </a:moveTo>
                    <a:lnTo>
                      <a:pt x="4" y="75"/>
                    </a:lnTo>
                    <a:lnTo>
                      <a:pt x="21" y="75"/>
                    </a:lnTo>
                    <a:lnTo>
                      <a:pt x="21" y="89"/>
                    </a:lnTo>
                    <a:lnTo>
                      <a:pt x="4" y="8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1" name="Freeform 2550">
                <a:extLst>
                  <a:ext uri="{FF2B5EF4-FFF2-40B4-BE49-F238E27FC236}">
                    <a16:creationId xmlns:a16="http://schemas.microsoft.com/office/drawing/2014/main" id="{2DC111CA-FE92-4D76-B0F6-3013300F87E7}"/>
                  </a:ext>
                </a:extLst>
              </p:cNvPr>
              <p:cNvSpPr>
                <a:spLocks noEditPoints="1"/>
              </p:cNvSpPr>
              <p:nvPr/>
            </p:nvSpPr>
            <p:spPr bwMode="auto">
              <a:xfrm>
                <a:off x="5325269" y="2612049"/>
                <a:ext cx="115888" cy="296863"/>
              </a:xfrm>
              <a:custGeom>
                <a:avLst/>
                <a:gdLst>
                  <a:gd name="T0" fmla="*/ 64 w 73"/>
                  <a:gd name="T1" fmla="*/ 0 h 187"/>
                  <a:gd name="T2" fmla="*/ 9 w 73"/>
                  <a:gd name="T3" fmla="*/ 0 h 187"/>
                  <a:gd name="T4" fmla="*/ 9 w 73"/>
                  <a:gd name="T5" fmla="*/ 8 h 187"/>
                  <a:gd name="T6" fmla="*/ 0 w 73"/>
                  <a:gd name="T7" fmla="*/ 8 h 187"/>
                  <a:gd name="T8" fmla="*/ 0 w 73"/>
                  <a:gd name="T9" fmla="*/ 187 h 187"/>
                  <a:gd name="T10" fmla="*/ 12 w 73"/>
                  <a:gd name="T11" fmla="*/ 187 h 187"/>
                  <a:gd name="T12" fmla="*/ 12 w 73"/>
                  <a:gd name="T13" fmla="*/ 173 h 187"/>
                  <a:gd name="T14" fmla="*/ 64 w 73"/>
                  <a:gd name="T15" fmla="*/ 173 h 187"/>
                  <a:gd name="T16" fmla="*/ 64 w 73"/>
                  <a:gd name="T17" fmla="*/ 187 h 187"/>
                  <a:gd name="T18" fmla="*/ 73 w 73"/>
                  <a:gd name="T19" fmla="*/ 187 h 187"/>
                  <a:gd name="T20" fmla="*/ 73 w 73"/>
                  <a:gd name="T21" fmla="*/ 8 h 187"/>
                  <a:gd name="T22" fmla="*/ 64 w 73"/>
                  <a:gd name="T23" fmla="*/ 8 h 187"/>
                  <a:gd name="T24" fmla="*/ 64 w 73"/>
                  <a:gd name="T25" fmla="*/ 0 h 187"/>
                  <a:gd name="T26" fmla="*/ 35 w 73"/>
                  <a:gd name="T27" fmla="*/ 152 h 187"/>
                  <a:gd name="T28" fmla="*/ 9 w 73"/>
                  <a:gd name="T29" fmla="*/ 152 h 187"/>
                  <a:gd name="T30" fmla="*/ 9 w 73"/>
                  <a:gd name="T31" fmla="*/ 128 h 187"/>
                  <a:gd name="T32" fmla="*/ 35 w 73"/>
                  <a:gd name="T33" fmla="*/ 128 h 187"/>
                  <a:gd name="T34" fmla="*/ 35 w 73"/>
                  <a:gd name="T35" fmla="*/ 152 h 187"/>
                  <a:gd name="T36" fmla="*/ 9 w 73"/>
                  <a:gd name="T37" fmla="*/ 60 h 187"/>
                  <a:gd name="T38" fmla="*/ 9 w 73"/>
                  <a:gd name="T39" fmla="*/ 34 h 187"/>
                  <a:gd name="T40" fmla="*/ 33 w 73"/>
                  <a:gd name="T41" fmla="*/ 34 h 187"/>
                  <a:gd name="T42" fmla="*/ 33 w 73"/>
                  <a:gd name="T43" fmla="*/ 60 h 187"/>
                  <a:gd name="T44" fmla="*/ 9 w 73"/>
                  <a:gd name="T45" fmla="*/ 60 h 187"/>
                  <a:gd name="T46" fmla="*/ 35 w 73"/>
                  <a:gd name="T47" fmla="*/ 121 h 187"/>
                  <a:gd name="T48" fmla="*/ 9 w 73"/>
                  <a:gd name="T49" fmla="*/ 121 h 187"/>
                  <a:gd name="T50" fmla="*/ 9 w 73"/>
                  <a:gd name="T51" fmla="*/ 95 h 187"/>
                  <a:gd name="T52" fmla="*/ 35 w 73"/>
                  <a:gd name="T53" fmla="*/ 95 h 187"/>
                  <a:gd name="T54" fmla="*/ 35 w 73"/>
                  <a:gd name="T55" fmla="*/ 121 h 187"/>
                  <a:gd name="T56" fmla="*/ 35 w 73"/>
                  <a:gd name="T57" fmla="*/ 90 h 187"/>
                  <a:gd name="T58" fmla="*/ 9 w 73"/>
                  <a:gd name="T59" fmla="*/ 90 h 187"/>
                  <a:gd name="T60" fmla="*/ 9 w 73"/>
                  <a:gd name="T61" fmla="*/ 64 h 187"/>
                  <a:gd name="T62" fmla="*/ 35 w 73"/>
                  <a:gd name="T63" fmla="*/ 64 h 187"/>
                  <a:gd name="T64" fmla="*/ 35 w 73"/>
                  <a:gd name="T65" fmla="*/ 90 h 187"/>
                  <a:gd name="T66" fmla="*/ 35 w 73"/>
                  <a:gd name="T67" fmla="*/ 24 h 187"/>
                  <a:gd name="T68" fmla="*/ 9 w 73"/>
                  <a:gd name="T69" fmla="*/ 24 h 187"/>
                  <a:gd name="T70" fmla="*/ 9 w 73"/>
                  <a:gd name="T71" fmla="*/ 17 h 187"/>
                  <a:gd name="T72" fmla="*/ 35 w 73"/>
                  <a:gd name="T73" fmla="*/ 17 h 187"/>
                  <a:gd name="T74" fmla="*/ 35 w 73"/>
                  <a:gd name="T75" fmla="*/ 24 h 187"/>
                  <a:gd name="T76" fmla="*/ 64 w 73"/>
                  <a:gd name="T77" fmla="*/ 152 h 187"/>
                  <a:gd name="T78" fmla="*/ 40 w 73"/>
                  <a:gd name="T79" fmla="*/ 152 h 187"/>
                  <a:gd name="T80" fmla="*/ 40 w 73"/>
                  <a:gd name="T81" fmla="*/ 128 h 187"/>
                  <a:gd name="T82" fmla="*/ 64 w 73"/>
                  <a:gd name="T83" fmla="*/ 128 h 187"/>
                  <a:gd name="T84" fmla="*/ 64 w 73"/>
                  <a:gd name="T85" fmla="*/ 152 h 187"/>
                  <a:gd name="T86" fmla="*/ 40 w 73"/>
                  <a:gd name="T87" fmla="*/ 60 h 187"/>
                  <a:gd name="T88" fmla="*/ 40 w 73"/>
                  <a:gd name="T89" fmla="*/ 34 h 187"/>
                  <a:gd name="T90" fmla="*/ 64 w 73"/>
                  <a:gd name="T91" fmla="*/ 34 h 187"/>
                  <a:gd name="T92" fmla="*/ 64 w 73"/>
                  <a:gd name="T93" fmla="*/ 60 h 187"/>
                  <a:gd name="T94" fmla="*/ 40 w 73"/>
                  <a:gd name="T95" fmla="*/ 60 h 187"/>
                  <a:gd name="T96" fmla="*/ 64 w 73"/>
                  <a:gd name="T97" fmla="*/ 121 h 187"/>
                  <a:gd name="T98" fmla="*/ 40 w 73"/>
                  <a:gd name="T99" fmla="*/ 121 h 187"/>
                  <a:gd name="T100" fmla="*/ 40 w 73"/>
                  <a:gd name="T101" fmla="*/ 95 h 187"/>
                  <a:gd name="T102" fmla="*/ 64 w 73"/>
                  <a:gd name="T103" fmla="*/ 95 h 187"/>
                  <a:gd name="T104" fmla="*/ 64 w 73"/>
                  <a:gd name="T105" fmla="*/ 121 h 187"/>
                  <a:gd name="T106" fmla="*/ 64 w 73"/>
                  <a:gd name="T107" fmla="*/ 90 h 187"/>
                  <a:gd name="T108" fmla="*/ 40 w 73"/>
                  <a:gd name="T109" fmla="*/ 90 h 187"/>
                  <a:gd name="T110" fmla="*/ 40 w 73"/>
                  <a:gd name="T111" fmla="*/ 64 h 187"/>
                  <a:gd name="T112" fmla="*/ 64 w 73"/>
                  <a:gd name="T113" fmla="*/ 64 h 187"/>
                  <a:gd name="T114" fmla="*/ 64 w 73"/>
                  <a:gd name="T115" fmla="*/ 90 h 187"/>
                  <a:gd name="T116" fmla="*/ 66 w 73"/>
                  <a:gd name="T117" fmla="*/ 24 h 187"/>
                  <a:gd name="T118" fmla="*/ 40 w 73"/>
                  <a:gd name="T119" fmla="*/ 24 h 187"/>
                  <a:gd name="T120" fmla="*/ 40 w 73"/>
                  <a:gd name="T121" fmla="*/ 17 h 187"/>
                  <a:gd name="T122" fmla="*/ 66 w 73"/>
                  <a:gd name="T123" fmla="*/ 17 h 187"/>
                  <a:gd name="T124" fmla="*/ 66 w 73"/>
                  <a:gd name="T125" fmla="*/ 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187">
                    <a:moveTo>
                      <a:pt x="64" y="0"/>
                    </a:moveTo>
                    <a:lnTo>
                      <a:pt x="9" y="0"/>
                    </a:lnTo>
                    <a:lnTo>
                      <a:pt x="9" y="8"/>
                    </a:lnTo>
                    <a:lnTo>
                      <a:pt x="0" y="8"/>
                    </a:lnTo>
                    <a:lnTo>
                      <a:pt x="0" y="187"/>
                    </a:lnTo>
                    <a:lnTo>
                      <a:pt x="12" y="187"/>
                    </a:lnTo>
                    <a:lnTo>
                      <a:pt x="12" y="173"/>
                    </a:lnTo>
                    <a:lnTo>
                      <a:pt x="64" y="173"/>
                    </a:lnTo>
                    <a:lnTo>
                      <a:pt x="64" y="187"/>
                    </a:lnTo>
                    <a:lnTo>
                      <a:pt x="73" y="187"/>
                    </a:lnTo>
                    <a:lnTo>
                      <a:pt x="73" y="8"/>
                    </a:lnTo>
                    <a:lnTo>
                      <a:pt x="64" y="8"/>
                    </a:lnTo>
                    <a:lnTo>
                      <a:pt x="64" y="0"/>
                    </a:lnTo>
                    <a:close/>
                    <a:moveTo>
                      <a:pt x="35" y="152"/>
                    </a:moveTo>
                    <a:lnTo>
                      <a:pt x="9" y="152"/>
                    </a:lnTo>
                    <a:lnTo>
                      <a:pt x="9" y="128"/>
                    </a:lnTo>
                    <a:lnTo>
                      <a:pt x="35" y="128"/>
                    </a:lnTo>
                    <a:lnTo>
                      <a:pt x="35" y="152"/>
                    </a:lnTo>
                    <a:close/>
                    <a:moveTo>
                      <a:pt x="9" y="60"/>
                    </a:moveTo>
                    <a:lnTo>
                      <a:pt x="9" y="34"/>
                    </a:lnTo>
                    <a:lnTo>
                      <a:pt x="33" y="34"/>
                    </a:lnTo>
                    <a:lnTo>
                      <a:pt x="33" y="60"/>
                    </a:lnTo>
                    <a:lnTo>
                      <a:pt x="9" y="60"/>
                    </a:lnTo>
                    <a:close/>
                    <a:moveTo>
                      <a:pt x="35" y="121"/>
                    </a:moveTo>
                    <a:lnTo>
                      <a:pt x="9" y="121"/>
                    </a:lnTo>
                    <a:lnTo>
                      <a:pt x="9" y="95"/>
                    </a:lnTo>
                    <a:lnTo>
                      <a:pt x="35" y="95"/>
                    </a:lnTo>
                    <a:lnTo>
                      <a:pt x="35" y="121"/>
                    </a:lnTo>
                    <a:close/>
                    <a:moveTo>
                      <a:pt x="35" y="90"/>
                    </a:moveTo>
                    <a:lnTo>
                      <a:pt x="9" y="90"/>
                    </a:lnTo>
                    <a:lnTo>
                      <a:pt x="9" y="64"/>
                    </a:lnTo>
                    <a:lnTo>
                      <a:pt x="35" y="64"/>
                    </a:lnTo>
                    <a:lnTo>
                      <a:pt x="35" y="90"/>
                    </a:lnTo>
                    <a:close/>
                    <a:moveTo>
                      <a:pt x="35" y="24"/>
                    </a:moveTo>
                    <a:lnTo>
                      <a:pt x="9" y="24"/>
                    </a:lnTo>
                    <a:lnTo>
                      <a:pt x="9" y="17"/>
                    </a:lnTo>
                    <a:lnTo>
                      <a:pt x="35" y="17"/>
                    </a:lnTo>
                    <a:lnTo>
                      <a:pt x="35" y="24"/>
                    </a:lnTo>
                    <a:close/>
                    <a:moveTo>
                      <a:pt x="64" y="152"/>
                    </a:moveTo>
                    <a:lnTo>
                      <a:pt x="40" y="152"/>
                    </a:lnTo>
                    <a:lnTo>
                      <a:pt x="40" y="128"/>
                    </a:lnTo>
                    <a:lnTo>
                      <a:pt x="64" y="128"/>
                    </a:lnTo>
                    <a:lnTo>
                      <a:pt x="64" y="152"/>
                    </a:lnTo>
                    <a:close/>
                    <a:moveTo>
                      <a:pt x="40" y="60"/>
                    </a:moveTo>
                    <a:lnTo>
                      <a:pt x="40" y="34"/>
                    </a:lnTo>
                    <a:lnTo>
                      <a:pt x="64" y="34"/>
                    </a:lnTo>
                    <a:lnTo>
                      <a:pt x="64" y="60"/>
                    </a:lnTo>
                    <a:lnTo>
                      <a:pt x="40" y="60"/>
                    </a:lnTo>
                    <a:close/>
                    <a:moveTo>
                      <a:pt x="64" y="121"/>
                    </a:moveTo>
                    <a:lnTo>
                      <a:pt x="40" y="121"/>
                    </a:lnTo>
                    <a:lnTo>
                      <a:pt x="40" y="95"/>
                    </a:lnTo>
                    <a:lnTo>
                      <a:pt x="64" y="95"/>
                    </a:lnTo>
                    <a:lnTo>
                      <a:pt x="64" y="121"/>
                    </a:lnTo>
                    <a:close/>
                    <a:moveTo>
                      <a:pt x="64" y="90"/>
                    </a:moveTo>
                    <a:lnTo>
                      <a:pt x="40" y="90"/>
                    </a:lnTo>
                    <a:lnTo>
                      <a:pt x="40" y="64"/>
                    </a:lnTo>
                    <a:lnTo>
                      <a:pt x="64" y="64"/>
                    </a:lnTo>
                    <a:lnTo>
                      <a:pt x="64" y="90"/>
                    </a:lnTo>
                    <a:close/>
                    <a:moveTo>
                      <a:pt x="66" y="24"/>
                    </a:moveTo>
                    <a:lnTo>
                      <a:pt x="40" y="24"/>
                    </a:lnTo>
                    <a:lnTo>
                      <a:pt x="40" y="17"/>
                    </a:lnTo>
                    <a:lnTo>
                      <a:pt x="66" y="17"/>
                    </a:lnTo>
                    <a:lnTo>
                      <a:pt x="6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5" name="Freeform 2558">
                <a:extLst>
                  <a:ext uri="{FF2B5EF4-FFF2-40B4-BE49-F238E27FC236}">
                    <a16:creationId xmlns:a16="http://schemas.microsoft.com/office/drawing/2014/main" id="{4FC0D645-C564-4131-8A55-BD29911D5836}"/>
                  </a:ext>
                </a:extLst>
              </p:cNvPr>
              <p:cNvSpPr>
                <a:spLocks/>
              </p:cNvSpPr>
              <p:nvPr/>
            </p:nvSpPr>
            <p:spPr bwMode="auto">
              <a:xfrm>
                <a:off x="5204620" y="2889862"/>
                <a:ext cx="33338" cy="19050"/>
              </a:xfrm>
              <a:custGeom>
                <a:avLst/>
                <a:gdLst>
                  <a:gd name="T0" fmla="*/ 21 w 21"/>
                  <a:gd name="T1" fmla="*/ 0 h 12"/>
                  <a:gd name="T2" fmla="*/ 0 w 21"/>
                  <a:gd name="T3" fmla="*/ 0 h 12"/>
                  <a:gd name="T4" fmla="*/ 0 w 21"/>
                  <a:gd name="T5" fmla="*/ 12 h 12"/>
                  <a:gd name="T6" fmla="*/ 7 w 21"/>
                  <a:gd name="T7" fmla="*/ 12 h 12"/>
                  <a:gd name="T8" fmla="*/ 21 w 21"/>
                  <a:gd name="T9" fmla="*/ 12 h 12"/>
                  <a:gd name="T10" fmla="*/ 21 w 21"/>
                  <a:gd name="T11" fmla="*/ 0 h 12"/>
                </a:gdLst>
                <a:ahLst/>
                <a:cxnLst>
                  <a:cxn ang="0">
                    <a:pos x="T0" y="T1"/>
                  </a:cxn>
                  <a:cxn ang="0">
                    <a:pos x="T2" y="T3"/>
                  </a:cxn>
                  <a:cxn ang="0">
                    <a:pos x="T4" y="T5"/>
                  </a:cxn>
                  <a:cxn ang="0">
                    <a:pos x="T6" y="T7"/>
                  </a:cxn>
                  <a:cxn ang="0">
                    <a:pos x="T8" y="T9"/>
                  </a:cxn>
                  <a:cxn ang="0">
                    <a:pos x="T10" y="T11"/>
                  </a:cxn>
                </a:cxnLst>
                <a:rect l="0" t="0" r="r" b="b"/>
                <a:pathLst>
                  <a:path w="21" h="12">
                    <a:moveTo>
                      <a:pt x="21" y="0"/>
                    </a:moveTo>
                    <a:lnTo>
                      <a:pt x="0" y="0"/>
                    </a:lnTo>
                    <a:lnTo>
                      <a:pt x="0" y="12"/>
                    </a:lnTo>
                    <a:lnTo>
                      <a:pt x="7" y="12"/>
                    </a:lnTo>
                    <a:lnTo>
                      <a:pt x="21" y="12"/>
                    </a:lnTo>
                    <a:lnTo>
                      <a:pt x="2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grpSp>
      </p:grpSp>
      <p:sp>
        <p:nvSpPr>
          <p:cNvPr id="65" name="TextBox 64">
            <a:extLst>
              <a:ext uri="{FF2B5EF4-FFF2-40B4-BE49-F238E27FC236}">
                <a16:creationId xmlns:a16="http://schemas.microsoft.com/office/drawing/2014/main" id="{A5A1A27F-E199-4099-AC16-D7BF777E21C7}"/>
              </a:ext>
            </a:extLst>
          </p:cNvPr>
          <p:cNvSpPr txBox="1"/>
          <p:nvPr/>
        </p:nvSpPr>
        <p:spPr>
          <a:xfrm>
            <a:off x="3599338" y="2291184"/>
            <a:ext cx="1146951" cy="430887"/>
          </a:xfrm>
          <a:prstGeom prst="rect">
            <a:avLst/>
          </a:prstGeom>
          <a:noFill/>
        </p:spPr>
        <p:txBody>
          <a:bodyPr wrap="square" lIns="0" tIns="0" rIns="0" bIns="0" rtlCol="0">
            <a:spAutoFit/>
          </a:bodyPr>
          <a:lstStyle/>
          <a:p>
            <a:pPr algn="r">
              <a:spcAft>
                <a:spcPts val="600"/>
              </a:spcAft>
            </a:pPr>
            <a:r>
              <a:rPr lang="en-US" sz="1400" b="1" dirty="0">
                <a:solidFill>
                  <a:srgbClr val="00338D"/>
                </a:solidFill>
                <a:ea typeface="+mj-ea"/>
                <a:cs typeface="Arial" panose="020B0604020202020204" pitchFamily="34" charset="0"/>
              </a:rPr>
              <a:t>{</a:t>
            </a:r>
            <a:r>
              <a:rPr lang="en-US" sz="1400" b="1" dirty="0" err="1">
                <a:solidFill>
                  <a:srgbClr val="00338D"/>
                </a:solidFill>
                <a:ea typeface="+mj-ea"/>
                <a:cs typeface="Arial" panose="020B0604020202020204" pitchFamily="34" charset="0"/>
              </a:rPr>
              <a:t>dominant_country</a:t>
            </a:r>
            <a:r>
              <a:rPr lang="en-US" sz="1400" b="1" dirty="0">
                <a:solidFill>
                  <a:srgbClr val="00338D"/>
                </a:solidFill>
                <a:ea typeface="+mj-ea"/>
                <a:cs typeface="Arial" panose="020B0604020202020204" pitchFamily="34" charset="0"/>
              </a:rPr>
              <a:t>}</a:t>
            </a:r>
            <a:endParaRPr lang="en-GB" sz="1400" b="1" dirty="0">
              <a:solidFill>
                <a:srgbClr val="00338D"/>
              </a:solidFill>
              <a:ea typeface="+mj-ea"/>
              <a:cs typeface="Arial" panose="020B0604020202020204" pitchFamily="34" charset="0"/>
            </a:endParaRPr>
          </a:p>
        </p:txBody>
      </p:sp>
      <p:sp>
        <p:nvSpPr>
          <p:cNvPr id="108" name="Rechteck 90">
            <a:extLst>
              <a:ext uri="{FF2B5EF4-FFF2-40B4-BE49-F238E27FC236}">
                <a16:creationId xmlns:a16="http://schemas.microsoft.com/office/drawing/2014/main" id="{E42EA7E6-0F4F-4AA2-808E-E6EBF1220CE2}"/>
              </a:ext>
            </a:extLst>
          </p:cNvPr>
          <p:cNvSpPr/>
          <p:nvPr/>
        </p:nvSpPr>
        <p:spPr>
          <a:xfrm>
            <a:off x="496264" y="950172"/>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US" sz="1000" b="1" i="1" dirty="0">
                <a:solidFill>
                  <a:schemeClr val="tx2"/>
                </a:solidFill>
              </a:rPr>
              <a:t>{</a:t>
            </a:r>
            <a:r>
              <a:rPr lang="en-US" sz="1000" b="1" i="1" dirty="0" err="1">
                <a:solidFill>
                  <a:schemeClr val="tx2"/>
                </a:solidFill>
              </a:rPr>
              <a:t>biz_summary</a:t>
            </a:r>
            <a:r>
              <a:rPr lang="en-US" sz="1000" b="1" i="1" dirty="0">
                <a:solidFill>
                  <a:schemeClr val="tx2"/>
                </a:solidFill>
              </a:rPr>
              <a:t>}</a:t>
            </a:r>
          </a:p>
        </p:txBody>
      </p:sp>
      <p:sp>
        <p:nvSpPr>
          <p:cNvPr id="148" name="Rectangle: Rounded Corners 147">
            <a:extLst>
              <a:ext uri="{FF2B5EF4-FFF2-40B4-BE49-F238E27FC236}">
                <a16:creationId xmlns:a16="http://schemas.microsoft.com/office/drawing/2014/main" id="{01CD9F73-44E5-4558-843E-7761DD6A5F3A}"/>
              </a:ext>
            </a:extLst>
          </p:cNvPr>
          <p:cNvSpPr/>
          <p:nvPr/>
        </p:nvSpPr>
        <p:spPr>
          <a:xfrm>
            <a:off x="496265" y="3849130"/>
            <a:ext cx="4355590" cy="283624"/>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Impact of {</a:t>
            </a:r>
            <a:r>
              <a:rPr lang="en-US" sz="1100" b="1" dirty="0" err="1">
                <a:solidFill>
                  <a:prstClr val="white"/>
                </a:solidFill>
                <a:latin typeface="Arial"/>
              </a:rPr>
              <a:t>company_name</a:t>
            </a:r>
            <a:r>
              <a:rPr lang="en-US" sz="1100" b="1" dirty="0">
                <a:solidFill>
                  <a:prstClr val="white"/>
                </a:solidFill>
                <a:latin typeface="Arial"/>
              </a:rPr>
              <a:t>}</a:t>
            </a:r>
          </a:p>
        </p:txBody>
      </p:sp>
      <p:sp>
        <p:nvSpPr>
          <p:cNvPr id="87" name="Rectangle 86">
            <a:extLst>
              <a:ext uri="{FF2B5EF4-FFF2-40B4-BE49-F238E27FC236}">
                <a16:creationId xmlns:a16="http://schemas.microsoft.com/office/drawing/2014/main" id="{91D41405-70DD-4A8F-86B2-8337A4DCD6A7}"/>
              </a:ext>
            </a:extLst>
          </p:cNvPr>
          <p:cNvSpPr/>
          <p:nvPr/>
        </p:nvSpPr>
        <p:spPr>
          <a:xfrm>
            <a:off x="5046664" y="4239904"/>
            <a:ext cx="4370387" cy="1667925"/>
          </a:xfrm>
          <a:prstGeom prst="rect">
            <a:avLst/>
          </a:prstGeom>
          <a:noFill/>
          <a:ln>
            <a:solidFill>
              <a:srgbClr val="6D207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endParaRPr lang="en-US" sz="900" dirty="0">
              <a:solidFill>
                <a:schemeClr val="tx1"/>
              </a:solidFill>
            </a:endParaRPr>
          </a:p>
        </p:txBody>
      </p:sp>
      <p:sp>
        <p:nvSpPr>
          <p:cNvPr id="167" name="TextBox 166">
            <a:extLst>
              <a:ext uri="{FF2B5EF4-FFF2-40B4-BE49-F238E27FC236}">
                <a16:creationId xmlns:a16="http://schemas.microsoft.com/office/drawing/2014/main" id="{ADD95DCB-A0BA-4D18-9E8E-E72470DE9922}"/>
              </a:ext>
            </a:extLst>
          </p:cNvPr>
          <p:cNvSpPr txBox="1"/>
          <p:nvPr/>
        </p:nvSpPr>
        <p:spPr>
          <a:xfrm>
            <a:off x="5306730" y="4531271"/>
            <a:ext cx="4065547" cy="1125314"/>
          </a:xfrm>
          <a:prstGeom prst="rect">
            <a:avLst/>
          </a:prstGeom>
          <a:noFill/>
        </p:spPr>
        <p:txBody>
          <a:bodyPr wrap="square" lIns="54610" tIns="54610" rIns="54610" bIns="54610" rtlCol="0">
            <a:noAutofit/>
          </a:bodyPr>
          <a:lstStyle/>
          <a:p>
            <a:pPr algn="ctr">
              <a:spcAft>
                <a:spcPts val="600"/>
              </a:spcAft>
            </a:pPr>
            <a:endParaRPr lang="en-US" sz="1200" dirty="0">
              <a:solidFill>
                <a:schemeClr val="tx2"/>
              </a:solidFill>
            </a:endParaRPr>
          </a:p>
        </p:txBody>
      </p:sp>
      <p:sp>
        <p:nvSpPr>
          <p:cNvPr id="168" name="TextBox 167">
            <a:extLst>
              <a:ext uri="{FF2B5EF4-FFF2-40B4-BE49-F238E27FC236}">
                <a16:creationId xmlns:a16="http://schemas.microsoft.com/office/drawing/2014/main" id="{94546107-5D92-4217-A7BE-372214B66520}"/>
              </a:ext>
            </a:extLst>
          </p:cNvPr>
          <p:cNvSpPr txBox="1"/>
          <p:nvPr/>
        </p:nvSpPr>
        <p:spPr>
          <a:xfrm>
            <a:off x="5154330" y="4378871"/>
            <a:ext cx="4065547" cy="1125314"/>
          </a:xfrm>
          <a:prstGeom prst="rect">
            <a:avLst/>
          </a:prstGeom>
          <a:noFill/>
        </p:spPr>
        <p:txBody>
          <a:bodyPr wrap="square" lIns="54610" tIns="54610" rIns="54610" bIns="54610" rtlCol="0">
            <a:noAutofit/>
          </a:bodyPr>
          <a:lstStyle/>
          <a:p>
            <a:pPr algn="ctr">
              <a:spcAft>
                <a:spcPts val="600"/>
              </a:spcAft>
            </a:pPr>
            <a:endParaRPr lang="en-US" sz="1200" dirty="0">
              <a:solidFill>
                <a:schemeClr val="tx2"/>
              </a:solidFill>
            </a:endParaRPr>
          </a:p>
        </p:txBody>
      </p:sp>
      <p:pic>
        <p:nvPicPr>
          <p:cNvPr id="169" name="Picture 168">
            <a:extLst>
              <a:ext uri="{FF2B5EF4-FFF2-40B4-BE49-F238E27FC236}">
                <a16:creationId xmlns:a16="http://schemas.microsoft.com/office/drawing/2014/main" id="{09F1CAAA-0B09-454D-9B2C-0022CBE5017A}"/>
              </a:ext>
            </a:extLst>
          </p:cNvPr>
          <p:cNvPicPr>
            <a:picLocks noChangeAspect="1"/>
          </p:cNvPicPr>
          <p:nvPr/>
        </p:nvPicPr>
        <p:blipFill>
          <a:blip r:embed="rId9"/>
          <a:stretch>
            <a:fillRect/>
          </a:stretch>
        </p:blipFill>
        <p:spPr>
          <a:xfrm>
            <a:off x="5168433" y="5093116"/>
            <a:ext cx="897026" cy="654217"/>
          </a:xfrm>
          <a:prstGeom prst="rect">
            <a:avLst/>
          </a:prstGeom>
        </p:spPr>
      </p:pic>
      <p:pic>
        <p:nvPicPr>
          <p:cNvPr id="170" name="Picture 169">
            <a:extLst>
              <a:ext uri="{FF2B5EF4-FFF2-40B4-BE49-F238E27FC236}">
                <a16:creationId xmlns:a16="http://schemas.microsoft.com/office/drawing/2014/main" id="{8974E356-5324-4146-A360-FB0F9FDA44AA}"/>
              </a:ext>
            </a:extLst>
          </p:cNvPr>
          <p:cNvPicPr>
            <a:picLocks noChangeAspect="1"/>
          </p:cNvPicPr>
          <p:nvPr/>
        </p:nvPicPr>
        <p:blipFill>
          <a:blip r:embed="rId10"/>
          <a:stretch>
            <a:fillRect/>
          </a:stretch>
        </p:blipFill>
        <p:spPr>
          <a:xfrm>
            <a:off x="6624735" y="5098468"/>
            <a:ext cx="897026" cy="648863"/>
          </a:xfrm>
          <a:prstGeom prst="rect">
            <a:avLst/>
          </a:prstGeom>
        </p:spPr>
      </p:pic>
      <p:pic>
        <p:nvPicPr>
          <p:cNvPr id="171" name="Picture 170">
            <a:extLst>
              <a:ext uri="{FF2B5EF4-FFF2-40B4-BE49-F238E27FC236}">
                <a16:creationId xmlns:a16="http://schemas.microsoft.com/office/drawing/2014/main" id="{05CEBED2-96B1-4314-9422-F238EE73D30B}"/>
              </a:ext>
            </a:extLst>
          </p:cNvPr>
          <p:cNvPicPr>
            <a:picLocks noChangeAspect="1"/>
          </p:cNvPicPr>
          <p:nvPr/>
        </p:nvPicPr>
        <p:blipFill>
          <a:blip r:embed="rId11"/>
          <a:stretch>
            <a:fillRect/>
          </a:stretch>
        </p:blipFill>
        <p:spPr>
          <a:xfrm>
            <a:off x="7584128" y="5102065"/>
            <a:ext cx="899825" cy="654217"/>
          </a:xfrm>
          <a:prstGeom prst="rect">
            <a:avLst/>
          </a:prstGeom>
        </p:spPr>
      </p:pic>
      <p:pic>
        <p:nvPicPr>
          <p:cNvPr id="172" name="Picture 171">
            <a:extLst>
              <a:ext uri="{FF2B5EF4-FFF2-40B4-BE49-F238E27FC236}">
                <a16:creationId xmlns:a16="http://schemas.microsoft.com/office/drawing/2014/main" id="{BD14FC16-2BED-4260-B6F1-EC6B63210D42}"/>
              </a:ext>
            </a:extLst>
          </p:cNvPr>
          <p:cNvPicPr>
            <a:picLocks noChangeAspect="1"/>
          </p:cNvPicPr>
          <p:nvPr/>
        </p:nvPicPr>
        <p:blipFill>
          <a:blip r:embed="rId12"/>
          <a:stretch>
            <a:fillRect/>
          </a:stretch>
        </p:blipFill>
        <p:spPr>
          <a:xfrm>
            <a:off x="8461503" y="5098468"/>
            <a:ext cx="820740" cy="648863"/>
          </a:xfrm>
          <a:prstGeom prst="rect">
            <a:avLst/>
          </a:prstGeom>
        </p:spPr>
      </p:pic>
      <p:sp>
        <p:nvSpPr>
          <p:cNvPr id="173" name="Rectangle 172">
            <a:extLst>
              <a:ext uri="{FF2B5EF4-FFF2-40B4-BE49-F238E27FC236}">
                <a16:creationId xmlns:a16="http://schemas.microsoft.com/office/drawing/2014/main" id="{C59C8C78-0C29-4969-B914-0E49987F2BA8}"/>
              </a:ext>
            </a:extLst>
          </p:cNvPr>
          <p:cNvSpPr/>
          <p:nvPr/>
        </p:nvSpPr>
        <p:spPr>
          <a:xfrm>
            <a:off x="5189473" y="4850675"/>
            <a:ext cx="847434" cy="192548"/>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Social</a:t>
            </a:r>
          </a:p>
        </p:txBody>
      </p:sp>
      <p:sp>
        <p:nvSpPr>
          <p:cNvPr id="174" name="Rectangle 173">
            <a:extLst>
              <a:ext uri="{FF2B5EF4-FFF2-40B4-BE49-F238E27FC236}">
                <a16:creationId xmlns:a16="http://schemas.microsoft.com/office/drawing/2014/main" id="{ACF6C148-7976-4CDD-86D3-4757C7602641}"/>
              </a:ext>
            </a:extLst>
          </p:cNvPr>
          <p:cNvSpPr/>
          <p:nvPr/>
        </p:nvSpPr>
        <p:spPr>
          <a:xfrm>
            <a:off x="6710739" y="4845070"/>
            <a:ext cx="2544280" cy="198154"/>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Venture</a:t>
            </a:r>
          </a:p>
        </p:txBody>
      </p:sp>
      <p:sp>
        <p:nvSpPr>
          <p:cNvPr id="175" name="Rectangle 174">
            <a:extLst>
              <a:ext uri="{FF2B5EF4-FFF2-40B4-BE49-F238E27FC236}">
                <a16:creationId xmlns:a16="http://schemas.microsoft.com/office/drawing/2014/main" id="{D2546EB3-1B16-400C-AEA7-27FC7B47357F}"/>
              </a:ext>
            </a:extLst>
          </p:cNvPr>
          <p:cNvSpPr/>
          <p:nvPr/>
        </p:nvSpPr>
        <p:spPr>
          <a:xfrm>
            <a:off x="5860735" y="4338748"/>
            <a:ext cx="2544280" cy="198154"/>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a:t>
            </a:r>
            <a:r>
              <a:rPr lang="en-US" sz="900" dirty="0" err="1">
                <a:solidFill>
                  <a:schemeClr val="bg1"/>
                </a:solidFill>
              </a:rPr>
              <a:t>company_name</a:t>
            </a:r>
            <a:r>
              <a:rPr lang="en-US" sz="900" dirty="0">
                <a:solidFill>
                  <a:schemeClr val="bg1"/>
                </a:solidFill>
              </a:rPr>
              <a:t>}</a:t>
            </a:r>
          </a:p>
        </p:txBody>
      </p:sp>
      <p:cxnSp>
        <p:nvCxnSpPr>
          <p:cNvPr id="176" name="Connector: Elbow 175">
            <a:extLst>
              <a:ext uri="{FF2B5EF4-FFF2-40B4-BE49-F238E27FC236}">
                <a16:creationId xmlns:a16="http://schemas.microsoft.com/office/drawing/2014/main" id="{9AF4EA18-D3A3-4C40-AB47-1FB9D4C483E5}"/>
              </a:ext>
            </a:extLst>
          </p:cNvPr>
          <p:cNvCxnSpPr>
            <a:stCxn id="175" idx="2"/>
            <a:endCxn id="173" idx="0"/>
          </p:cNvCxnSpPr>
          <p:nvPr/>
        </p:nvCxnSpPr>
        <p:spPr>
          <a:xfrm rot="5400000">
            <a:off x="6216145" y="3933945"/>
            <a:ext cx="313775" cy="1519686"/>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77" name="Connector: Elbow 176">
            <a:extLst>
              <a:ext uri="{FF2B5EF4-FFF2-40B4-BE49-F238E27FC236}">
                <a16:creationId xmlns:a16="http://schemas.microsoft.com/office/drawing/2014/main" id="{11C1DD99-6A4F-414A-B7EA-CDF17FD30CDC}"/>
              </a:ext>
            </a:extLst>
          </p:cNvPr>
          <p:cNvCxnSpPr>
            <a:stCxn id="175" idx="2"/>
            <a:endCxn id="174" idx="0"/>
          </p:cNvCxnSpPr>
          <p:nvPr/>
        </p:nvCxnSpPr>
        <p:spPr>
          <a:xfrm rot="16200000" flipH="1">
            <a:off x="7403793" y="4265984"/>
            <a:ext cx="308168" cy="85000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180" name="Rectangle: Rounded Corners 179">
            <a:extLst>
              <a:ext uri="{FF2B5EF4-FFF2-40B4-BE49-F238E27FC236}">
                <a16:creationId xmlns:a16="http://schemas.microsoft.com/office/drawing/2014/main" id="{D77CF387-4E1D-4A6B-A4F4-D107ED7156C2}"/>
              </a:ext>
            </a:extLst>
          </p:cNvPr>
          <p:cNvSpPr/>
          <p:nvPr/>
        </p:nvSpPr>
        <p:spPr>
          <a:xfrm>
            <a:off x="5046664" y="3849130"/>
            <a:ext cx="4370387" cy="283624"/>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Group Structure</a:t>
            </a:r>
          </a:p>
        </p:txBody>
      </p:sp>
      <p:sp>
        <p:nvSpPr>
          <p:cNvPr id="181" name="Rectangle 180">
            <a:extLst>
              <a:ext uri="{FF2B5EF4-FFF2-40B4-BE49-F238E27FC236}">
                <a16:creationId xmlns:a16="http://schemas.microsoft.com/office/drawing/2014/main" id="{11B2373A-22B1-4C23-9A81-8A8639C84B4D}"/>
              </a:ext>
            </a:extLst>
          </p:cNvPr>
          <p:cNvSpPr/>
          <p:nvPr/>
        </p:nvSpPr>
        <p:spPr>
          <a:xfrm>
            <a:off x="5046664" y="1803179"/>
            <a:ext cx="4362267" cy="1909714"/>
          </a:xfrm>
          <a:prstGeom prst="rect">
            <a:avLst/>
          </a:prstGeom>
          <a:noFill/>
          <a:ln>
            <a:solidFill>
              <a:srgbClr val="6D207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r>
              <a:rPr lang="en-US" sz="900" dirty="0">
                <a:solidFill>
                  <a:schemeClr val="tx1"/>
                </a:solidFill>
              </a:rPr>
              <a:t>{</a:t>
            </a:r>
            <a:r>
              <a:rPr lang="en-US" sz="900" dirty="0" err="1">
                <a:solidFill>
                  <a:schemeClr val="tx1"/>
                </a:solidFill>
              </a:rPr>
              <a:t>biz_desc</a:t>
            </a:r>
            <a:r>
              <a:rPr lang="en-US" sz="900" dirty="0">
                <a:solidFill>
                  <a:schemeClr val="tx1"/>
                </a:solidFill>
              </a:rPr>
              <a:t>}</a:t>
            </a:r>
          </a:p>
        </p:txBody>
      </p:sp>
      <p:sp>
        <p:nvSpPr>
          <p:cNvPr id="83" name="Rectangle 82">
            <a:extLst>
              <a:ext uri="{FF2B5EF4-FFF2-40B4-BE49-F238E27FC236}">
                <a16:creationId xmlns:a16="http://schemas.microsoft.com/office/drawing/2014/main" id="{2D471C0A-0AFF-43D9-8385-57D7A150692C}"/>
              </a:ext>
            </a:extLst>
          </p:cNvPr>
          <p:cNvSpPr>
            <a:spLocks/>
          </p:cNvSpPr>
          <p:nvPr/>
        </p:nvSpPr>
        <p:spPr>
          <a:xfrm>
            <a:off x="491091" y="2798152"/>
            <a:ext cx="2142975" cy="914401"/>
          </a:xfrm>
          <a:prstGeom prst="rect">
            <a:avLst/>
          </a:prstGeom>
          <a:solidFill>
            <a:srgbClr val="00B8F5"/>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defTabSz="914395">
              <a:tabLst>
                <a:tab pos="57150" algn="l"/>
              </a:tabLst>
              <a:defRPr/>
            </a:pPr>
            <a:r>
              <a:rPr lang="en-GB" sz="1000" dirty="0">
                <a:solidFill>
                  <a:prstClr val="white"/>
                </a:solidFill>
                <a:latin typeface="Arial"/>
                <a:cs typeface="Arial" panose="020B0604020202020204" pitchFamily="34" charset="0"/>
              </a:rPr>
              <a:t>	</a:t>
            </a:r>
            <a:r>
              <a:rPr lang="en-GB" sz="1000" b="1" dirty="0">
                <a:solidFill>
                  <a:prstClr val="white"/>
                </a:solidFill>
                <a:latin typeface="Arial"/>
                <a:cs typeface="Arial" panose="020B0604020202020204" pitchFamily="34" charset="0"/>
              </a:rPr>
              <a:t>Employees</a:t>
            </a:r>
            <a:endParaRPr lang="en-GB" sz="1000" dirty="0">
              <a:solidFill>
                <a:prstClr val="white"/>
              </a:solidFill>
              <a:latin typeface="Arial"/>
              <a:cs typeface="Arial" panose="020B0604020202020204" pitchFamily="34" charset="0"/>
            </a:endParaRPr>
          </a:p>
        </p:txBody>
      </p:sp>
      <p:sp>
        <p:nvSpPr>
          <p:cNvPr id="85" name="TextBox 84">
            <a:extLst>
              <a:ext uri="{FF2B5EF4-FFF2-40B4-BE49-F238E27FC236}">
                <a16:creationId xmlns:a16="http://schemas.microsoft.com/office/drawing/2014/main" id="{1875BE98-25A8-49D4-AB4F-26ED44702E43}"/>
              </a:ext>
            </a:extLst>
          </p:cNvPr>
          <p:cNvSpPr txBox="1"/>
          <p:nvPr/>
        </p:nvSpPr>
        <p:spPr>
          <a:xfrm>
            <a:off x="616239" y="3268210"/>
            <a:ext cx="1430278" cy="738664"/>
          </a:xfrm>
          <a:prstGeom prst="rect">
            <a:avLst/>
          </a:prstGeom>
          <a:noFill/>
        </p:spPr>
        <p:txBody>
          <a:bodyPr wrap="square" lIns="0" tIns="0" rIns="0" bIns="0" rtlCol="0">
            <a:spAutoFit/>
          </a:bodyPr>
          <a:lstStyle/>
          <a:p>
            <a:pPr>
              <a:spcAft>
                <a:spcPts val="200"/>
              </a:spcAft>
              <a:defRPr/>
            </a:pPr>
            <a:r>
              <a:rPr lang="en-US" sz="2400" b="1" dirty="0">
                <a:solidFill>
                  <a:prstClr val="white"/>
                </a:solidFill>
                <a:latin typeface="Arial"/>
                <a:cs typeface="Arial" panose="020B0604020202020204" pitchFamily="34" charset="0"/>
              </a:rPr>
              <a:t>{</a:t>
            </a:r>
            <a:r>
              <a:rPr lang="en-US" sz="2400" b="1" dirty="0" err="1">
                <a:solidFill>
                  <a:prstClr val="white"/>
                </a:solidFill>
                <a:latin typeface="Arial"/>
                <a:cs typeface="Arial" panose="020B0604020202020204" pitchFamily="34" charset="0"/>
              </a:rPr>
              <a:t>employee_num</a:t>
            </a:r>
            <a:r>
              <a:rPr lang="en-US" sz="2400" b="1" dirty="0">
                <a:solidFill>
                  <a:prstClr val="white"/>
                </a:solidFill>
                <a:latin typeface="Arial"/>
                <a:cs typeface="Arial" panose="020B0604020202020204" pitchFamily="34" charset="0"/>
              </a:rPr>
              <a:t>}</a:t>
            </a:r>
            <a:r>
              <a:rPr lang="en-US" sz="2400" dirty="0">
                <a:solidFill>
                  <a:prstClr val="white"/>
                </a:solidFill>
                <a:latin typeface="Arial"/>
                <a:cs typeface="Arial" panose="020B0604020202020204" pitchFamily="34" charset="0"/>
              </a:rPr>
              <a:t> </a:t>
            </a:r>
          </a:p>
        </p:txBody>
      </p:sp>
      <p:sp>
        <p:nvSpPr>
          <p:cNvPr id="86" name="Freeform 69">
            <a:extLst>
              <a:ext uri="{FF2B5EF4-FFF2-40B4-BE49-F238E27FC236}">
                <a16:creationId xmlns:a16="http://schemas.microsoft.com/office/drawing/2014/main" id="{CBCE0296-DB9F-40C5-AD85-ACD4A525FD6B}"/>
              </a:ext>
            </a:extLst>
          </p:cNvPr>
          <p:cNvSpPr>
            <a:spLocks noEditPoints="1"/>
          </p:cNvSpPr>
          <p:nvPr/>
        </p:nvSpPr>
        <p:spPr bwMode="auto">
          <a:xfrm>
            <a:off x="1932101" y="2986644"/>
            <a:ext cx="659766" cy="481978"/>
          </a:xfrm>
          <a:custGeom>
            <a:avLst/>
            <a:gdLst>
              <a:gd name="T0" fmla="*/ 63 w 1268"/>
              <a:gd name="T1" fmla="*/ 759 h 866"/>
              <a:gd name="T2" fmla="*/ 2 w 1268"/>
              <a:gd name="T3" fmla="*/ 707 h 866"/>
              <a:gd name="T4" fmla="*/ 20 w 1268"/>
              <a:gd name="T5" fmla="*/ 591 h 866"/>
              <a:gd name="T6" fmla="*/ 164 w 1268"/>
              <a:gd name="T7" fmla="*/ 512 h 866"/>
              <a:gd name="T8" fmla="*/ 170 w 1268"/>
              <a:gd name="T9" fmla="*/ 438 h 866"/>
              <a:gd name="T10" fmla="*/ 148 w 1268"/>
              <a:gd name="T11" fmla="*/ 386 h 866"/>
              <a:gd name="T12" fmla="*/ 121 w 1268"/>
              <a:gd name="T13" fmla="*/ 340 h 866"/>
              <a:gd name="T14" fmla="*/ 126 w 1268"/>
              <a:gd name="T15" fmla="*/ 289 h 866"/>
              <a:gd name="T16" fmla="*/ 147 w 1268"/>
              <a:gd name="T17" fmla="*/ 289 h 866"/>
              <a:gd name="T18" fmla="*/ 156 w 1268"/>
              <a:gd name="T19" fmla="*/ 162 h 866"/>
              <a:gd name="T20" fmla="*/ 257 w 1268"/>
              <a:gd name="T21" fmla="*/ 94 h 866"/>
              <a:gd name="T22" fmla="*/ 333 w 1268"/>
              <a:gd name="T23" fmla="*/ 109 h 866"/>
              <a:gd name="T24" fmla="*/ 400 w 1268"/>
              <a:gd name="T25" fmla="*/ 210 h 866"/>
              <a:gd name="T26" fmla="*/ 400 w 1268"/>
              <a:gd name="T27" fmla="*/ 292 h 866"/>
              <a:gd name="T28" fmla="*/ 425 w 1268"/>
              <a:gd name="T29" fmla="*/ 301 h 866"/>
              <a:gd name="T30" fmla="*/ 412 w 1268"/>
              <a:gd name="T31" fmla="*/ 368 h 866"/>
              <a:gd name="T32" fmla="*/ 390 w 1268"/>
              <a:gd name="T33" fmla="*/ 386 h 866"/>
              <a:gd name="T34" fmla="*/ 361 w 1268"/>
              <a:gd name="T35" fmla="*/ 473 h 866"/>
              <a:gd name="T36" fmla="*/ 422 w 1268"/>
              <a:gd name="T37" fmla="*/ 548 h 866"/>
              <a:gd name="T38" fmla="*/ 304 w 1268"/>
              <a:gd name="T39" fmla="*/ 632 h 866"/>
              <a:gd name="T40" fmla="*/ 1252 w 1268"/>
              <a:gd name="T41" fmla="*/ 609 h 866"/>
              <a:gd name="T42" fmla="*/ 1137 w 1268"/>
              <a:gd name="T43" fmla="*/ 543 h 866"/>
              <a:gd name="T44" fmla="*/ 1117 w 1268"/>
              <a:gd name="T45" fmla="*/ 488 h 866"/>
              <a:gd name="T46" fmla="*/ 1219 w 1268"/>
              <a:gd name="T47" fmla="*/ 445 h 866"/>
              <a:gd name="T48" fmla="*/ 1227 w 1268"/>
              <a:gd name="T49" fmla="*/ 400 h 866"/>
              <a:gd name="T50" fmla="*/ 1182 w 1268"/>
              <a:gd name="T51" fmla="*/ 311 h 866"/>
              <a:gd name="T52" fmla="*/ 1134 w 1268"/>
              <a:gd name="T53" fmla="*/ 171 h 866"/>
              <a:gd name="T54" fmla="*/ 1009 w 1268"/>
              <a:gd name="T55" fmla="*/ 135 h 866"/>
              <a:gd name="T56" fmla="*/ 912 w 1268"/>
              <a:gd name="T57" fmla="*/ 214 h 866"/>
              <a:gd name="T58" fmla="*/ 869 w 1268"/>
              <a:gd name="T59" fmla="*/ 378 h 866"/>
              <a:gd name="T60" fmla="*/ 828 w 1268"/>
              <a:gd name="T61" fmla="*/ 424 h 866"/>
              <a:gd name="T62" fmla="*/ 917 w 1268"/>
              <a:gd name="T63" fmla="*/ 469 h 866"/>
              <a:gd name="T64" fmla="*/ 956 w 1268"/>
              <a:gd name="T65" fmla="*/ 522 h 866"/>
              <a:gd name="T66" fmla="*/ 962 w 1268"/>
              <a:gd name="T67" fmla="*/ 593 h 866"/>
              <a:gd name="T68" fmla="*/ 1018 w 1268"/>
              <a:gd name="T69" fmla="*/ 718 h 866"/>
              <a:gd name="T70" fmla="*/ 1200 w 1268"/>
              <a:gd name="T71" fmla="*/ 754 h 866"/>
              <a:gd name="T72" fmla="*/ 1267 w 1268"/>
              <a:gd name="T73" fmla="*/ 705 h 866"/>
              <a:gd name="T74" fmla="*/ 933 w 1268"/>
              <a:gd name="T75" fmla="*/ 607 h 866"/>
              <a:gd name="T76" fmla="*/ 766 w 1268"/>
              <a:gd name="T77" fmla="*/ 506 h 866"/>
              <a:gd name="T78" fmla="*/ 798 w 1268"/>
              <a:gd name="T79" fmla="*/ 379 h 866"/>
              <a:gd name="T80" fmla="*/ 823 w 1268"/>
              <a:gd name="T81" fmla="*/ 367 h 866"/>
              <a:gd name="T82" fmla="*/ 849 w 1268"/>
              <a:gd name="T83" fmla="*/ 285 h 866"/>
              <a:gd name="T84" fmla="*/ 826 w 1268"/>
              <a:gd name="T85" fmla="*/ 254 h 866"/>
              <a:gd name="T86" fmla="*/ 819 w 1268"/>
              <a:gd name="T87" fmla="*/ 124 h 866"/>
              <a:gd name="T88" fmla="*/ 704 w 1268"/>
              <a:gd name="T89" fmla="*/ 7 h 866"/>
              <a:gd name="T90" fmla="*/ 551 w 1268"/>
              <a:gd name="T91" fmla="*/ 29 h 866"/>
              <a:gd name="T92" fmla="*/ 474 w 1268"/>
              <a:gd name="T93" fmla="*/ 176 h 866"/>
              <a:gd name="T94" fmla="*/ 473 w 1268"/>
              <a:gd name="T95" fmla="*/ 254 h 866"/>
              <a:gd name="T96" fmla="*/ 455 w 1268"/>
              <a:gd name="T97" fmla="*/ 294 h 866"/>
              <a:gd name="T98" fmla="*/ 481 w 1268"/>
              <a:gd name="T99" fmla="*/ 371 h 866"/>
              <a:gd name="T100" fmla="*/ 506 w 1268"/>
              <a:gd name="T101" fmla="*/ 378 h 866"/>
              <a:gd name="T102" fmla="*/ 533 w 1268"/>
              <a:gd name="T103" fmla="*/ 513 h 866"/>
              <a:gd name="T104" fmla="*/ 356 w 1268"/>
              <a:gd name="T105" fmla="*/ 615 h 866"/>
              <a:gd name="T106" fmla="*/ 308 w 1268"/>
              <a:gd name="T107" fmla="*/ 720 h 866"/>
              <a:gd name="T108" fmla="*/ 332 w 1268"/>
              <a:gd name="T109" fmla="*/ 829 h 866"/>
              <a:gd name="T110" fmla="*/ 544 w 1268"/>
              <a:gd name="T111" fmla="*/ 865 h 866"/>
              <a:gd name="T112" fmla="*/ 932 w 1268"/>
              <a:gd name="T113" fmla="*/ 847 h 866"/>
              <a:gd name="T114" fmla="*/ 992 w 1268"/>
              <a:gd name="T115" fmla="*/ 772 h 866"/>
              <a:gd name="T116" fmla="*/ 972 w 1268"/>
              <a:gd name="T117" fmla="*/ 64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68" h="866">
                <a:moveTo>
                  <a:pt x="280" y="772"/>
                </a:moveTo>
                <a:lnTo>
                  <a:pt x="275" y="772"/>
                </a:lnTo>
                <a:lnTo>
                  <a:pt x="271" y="772"/>
                </a:lnTo>
                <a:lnTo>
                  <a:pt x="226" y="771"/>
                </a:lnTo>
                <a:lnTo>
                  <a:pt x="187" y="770"/>
                </a:lnTo>
                <a:lnTo>
                  <a:pt x="153" y="769"/>
                </a:lnTo>
                <a:lnTo>
                  <a:pt x="125" y="767"/>
                </a:lnTo>
                <a:lnTo>
                  <a:pt x="100" y="765"/>
                </a:lnTo>
                <a:lnTo>
                  <a:pt x="79" y="762"/>
                </a:lnTo>
                <a:lnTo>
                  <a:pt x="63" y="759"/>
                </a:lnTo>
                <a:lnTo>
                  <a:pt x="49" y="756"/>
                </a:lnTo>
                <a:lnTo>
                  <a:pt x="39" y="753"/>
                </a:lnTo>
                <a:lnTo>
                  <a:pt x="30" y="750"/>
                </a:lnTo>
                <a:lnTo>
                  <a:pt x="24" y="745"/>
                </a:lnTo>
                <a:lnTo>
                  <a:pt x="20" y="742"/>
                </a:lnTo>
                <a:lnTo>
                  <a:pt x="13" y="734"/>
                </a:lnTo>
                <a:lnTo>
                  <a:pt x="8" y="727"/>
                </a:lnTo>
                <a:lnTo>
                  <a:pt x="6" y="722"/>
                </a:lnTo>
                <a:lnTo>
                  <a:pt x="4" y="715"/>
                </a:lnTo>
                <a:lnTo>
                  <a:pt x="2" y="707"/>
                </a:lnTo>
                <a:lnTo>
                  <a:pt x="1" y="698"/>
                </a:lnTo>
                <a:lnTo>
                  <a:pt x="0" y="678"/>
                </a:lnTo>
                <a:lnTo>
                  <a:pt x="1" y="655"/>
                </a:lnTo>
                <a:lnTo>
                  <a:pt x="2" y="645"/>
                </a:lnTo>
                <a:lnTo>
                  <a:pt x="4" y="634"/>
                </a:lnTo>
                <a:lnTo>
                  <a:pt x="6" y="624"/>
                </a:lnTo>
                <a:lnTo>
                  <a:pt x="9" y="614"/>
                </a:lnTo>
                <a:lnTo>
                  <a:pt x="12" y="605"/>
                </a:lnTo>
                <a:lnTo>
                  <a:pt x="15" y="597"/>
                </a:lnTo>
                <a:lnTo>
                  <a:pt x="20" y="591"/>
                </a:lnTo>
                <a:lnTo>
                  <a:pt x="24" y="587"/>
                </a:lnTo>
                <a:lnTo>
                  <a:pt x="30" y="580"/>
                </a:lnTo>
                <a:lnTo>
                  <a:pt x="39" y="574"/>
                </a:lnTo>
                <a:lnTo>
                  <a:pt x="48" y="566"/>
                </a:lnTo>
                <a:lnTo>
                  <a:pt x="60" y="560"/>
                </a:lnTo>
                <a:lnTo>
                  <a:pt x="92" y="545"/>
                </a:lnTo>
                <a:lnTo>
                  <a:pt x="126" y="530"/>
                </a:lnTo>
                <a:lnTo>
                  <a:pt x="140" y="524"/>
                </a:lnTo>
                <a:lnTo>
                  <a:pt x="154" y="518"/>
                </a:lnTo>
                <a:lnTo>
                  <a:pt x="164" y="512"/>
                </a:lnTo>
                <a:lnTo>
                  <a:pt x="170" y="508"/>
                </a:lnTo>
                <a:lnTo>
                  <a:pt x="173" y="503"/>
                </a:lnTo>
                <a:lnTo>
                  <a:pt x="178" y="493"/>
                </a:lnTo>
                <a:lnTo>
                  <a:pt x="180" y="487"/>
                </a:lnTo>
                <a:lnTo>
                  <a:pt x="181" y="481"/>
                </a:lnTo>
                <a:lnTo>
                  <a:pt x="182" y="473"/>
                </a:lnTo>
                <a:lnTo>
                  <a:pt x="181" y="466"/>
                </a:lnTo>
                <a:lnTo>
                  <a:pt x="180" y="459"/>
                </a:lnTo>
                <a:lnTo>
                  <a:pt x="178" y="453"/>
                </a:lnTo>
                <a:lnTo>
                  <a:pt x="170" y="438"/>
                </a:lnTo>
                <a:lnTo>
                  <a:pt x="165" y="422"/>
                </a:lnTo>
                <a:lnTo>
                  <a:pt x="161" y="404"/>
                </a:lnTo>
                <a:lnTo>
                  <a:pt x="156" y="386"/>
                </a:lnTo>
                <a:lnTo>
                  <a:pt x="154" y="386"/>
                </a:lnTo>
                <a:lnTo>
                  <a:pt x="152" y="386"/>
                </a:lnTo>
                <a:lnTo>
                  <a:pt x="151" y="386"/>
                </a:lnTo>
                <a:lnTo>
                  <a:pt x="151" y="386"/>
                </a:lnTo>
                <a:lnTo>
                  <a:pt x="151" y="386"/>
                </a:lnTo>
                <a:lnTo>
                  <a:pt x="151" y="386"/>
                </a:lnTo>
                <a:lnTo>
                  <a:pt x="148" y="386"/>
                </a:lnTo>
                <a:lnTo>
                  <a:pt x="144" y="385"/>
                </a:lnTo>
                <a:lnTo>
                  <a:pt x="140" y="384"/>
                </a:lnTo>
                <a:lnTo>
                  <a:pt x="137" y="381"/>
                </a:lnTo>
                <a:lnTo>
                  <a:pt x="135" y="378"/>
                </a:lnTo>
                <a:lnTo>
                  <a:pt x="133" y="375"/>
                </a:lnTo>
                <a:lnTo>
                  <a:pt x="131" y="368"/>
                </a:lnTo>
                <a:lnTo>
                  <a:pt x="130" y="365"/>
                </a:lnTo>
                <a:lnTo>
                  <a:pt x="129" y="361"/>
                </a:lnTo>
                <a:lnTo>
                  <a:pt x="126" y="350"/>
                </a:lnTo>
                <a:lnTo>
                  <a:pt x="121" y="340"/>
                </a:lnTo>
                <a:lnTo>
                  <a:pt x="119" y="332"/>
                </a:lnTo>
                <a:lnTo>
                  <a:pt x="118" y="327"/>
                </a:lnTo>
                <a:lnTo>
                  <a:pt x="116" y="321"/>
                </a:lnTo>
                <a:lnTo>
                  <a:pt x="115" y="312"/>
                </a:lnTo>
                <a:lnTo>
                  <a:pt x="115" y="304"/>
                </a:lnTo>
                <a:lnTo>
                  <a:pt x="116" y="301"/>
                </a:lnTo>
                <a:lnTo>
                  <a:pt x="117" y="297"/>
                </a:lnTo>
                <a:lnTo>
                  <a:pt x="119" y="294"/>
                </a:lnTo>
                <a:lnTo>
                  <a:pt x="121" y="292"/>
                </a:lnTo>
                <a:lnTo>
                  <a:pt x="126" y="289"/>
                </a:lnTo>
                <a:lnTo>
                  <a:pt x="131" y="289"/>
                </a:lnTo>
                <a:lnTo>
                  <a:pt x="132" y="289"/>
                </a:lnTo>
                <a:lnTo>
                  <a:pt x="134" y="289"/>
                </a:lnTo>
                <a:lnTo>
                  <a:pt x="137" y="290"/>
                </a:lnTo>
                <a:lnTo>
                  <a:pt x="140" y="292"/>
                </a:lnTo>
                <a:lnTo>
                  <a:pt x="141" y="292"/>
                </a:lnTo>
                <a:lnTo>
                  <a:pt x="141" y="293"/>
                </a:lnTo>
                <a:lnTo>
                  <a:pt x="144" y="292"/>
                </a:lnTo>
                <a:lnTo>
                  <a:pt x="145" y="291"/>
                </a:lnTo>
                <a:lnTo>
                  <a:pt x="147" y="289"/>
                </a:lnTo>
                <a:lnTo>
                  <a:pt x="147" y="287"/>
                </a:lnTo>
                <a:lnTo>
                  <a:pt x="144" y="271"/>
                </a:lnTo>
                <a:lnTo>
                  <a:pt x="143" y="255"/>
                </a:lnTo>
                <a:lnTo>
                  <a:pt x="141" y="239"/>
                </a:lnTo>
                <a:lnTo>
                  <a:pt x="140" y="223"/>
                </a:lnTo>
                <a:lnTo>
                  <a:pt x="141" y="210"/>
                </a:lnTo>
                <a:lnTo>
                  <a:pt x="144" y="198"/>
                </a:lnTo>
                <a:lnTo>
                  <a:pt x="147" y="185"/>
                </a:lnTo>
                <a:lnTo>
                  <a:pt x="151" y="173"/>
                </a:lnTo>
                <a:lnTo>
                  <a:pt x="156" y="162"/>
                </a:lnTo>
                <a:lnTo>
                  <a:pt x="163" y="151"/>
                </a:lnTo>
                <a:lnTo>
                  <a:pt x="170" y="141"/>
                </a:lnTo>
                <a:lnTo>
                  <a:pt x="179" y="132"/>
                </a:lnTo>
                <a:lnTo>
                  <a:pt x="188" y="124"/>
                </a:lnTo>
                <a:lnTo>
                  <a:pt x="198" y="116"/>
                </a:lnTo>
                <a:lnTo>
                  <a:pt x="208" y="109"/>
                </a:lnTo>
                <a:lnTo>
                  <a:pt x="220" y="103"/>
                </a:lnTo>
                <a:lnTo>
                  <a:pt x="232" y="99"/>
                </a:lnTo>
                <a:lnTo>
                  <a:pt x="244" y="96"/>
                </a:lnTo>
                <a:lnTo>
                  <a:pt x="257" y="94"/>
                </a:lnTo>
                <a:lnTo>
                  <a:pt x="271" y="94"/>
                </a:lnTo>
                <a:lnTo>
                  <a:pt x="271" y="94"/>
                </a:lnTo>
                <a:lnTo>
                  <a:pt x="271" y="94"/>
                </a:lnTo>
                <a:lnTo>
                  <a:pt x="271" y="94"/>
                </a:lnTo>
                <a:lnTo>
                  <a:pt x="271" y="94"/>
                </a:lnTo>
                <a:lnTo>
                  <a:pt x="284" y="94"/>
                </a:lnTo>
                <a:lnTo>
                  <a:pt x="297" y="96"/>
                </a:lnTo>
                <a:lnTo>
                  <a:pt x="310" y="99"/>
                </a:lnTo>
                <a:lnTo>
                  <a:pt x="322" y="103"/>
                </a:lnTo>
                <a:lnTo>
                  <a:pt x="333" y="109"/>
                </a:lnTo>
                <a:lnTo>
                  <a:pt x="344" y="116"/>
                </a:lnTo>
                <a:lnTo>
                  <a:pt x="353" y="124"/>
                </a:lnTo>
                <a:lnTo>
                  <a:pt x="363" y="132"/>
                </a:lnTo>
                <a:lnTo>
                  <a:pt x="371" y="141"/>
                </a:lnTo>
                <a:lnTo>
                  <a:pt x="379" y="151"/>
                </a:lnTo>
                <a:lnTo>
                  <a:pt x="385" y="162"/>
                </a:lnTo>
                <a:lnTo>
                  <a:pt x="390" y="173"/>
                </a:lnTo>
                <a:lnTo>
                  <a:pt x="395" y="185"/>
                </a:lnTo>
                <a:lnTo>
                  <a:pt x="398" y="198"/>
                </a:lnTo>
                <a:lnTo>
                  <a:pt x="400" y="210"/>
                </a:lnTo>
                <a:lnTo>
                  <a:pt x="401" y="223"/>
                </a:lnTo>
                <a:lnTo>
                  <a:pt x="401" y="239"/>
                </a:lnTo>
                <a:lnTo>
                  <a:pt x="399" y="255"/>
                </a:lnTo>
                <a:lnTo>
                  <a:pt x="398" y="271"/>
                </a:lnTo>
                <a:lnTo>
                  <a:pt x="395" y="287"/>
                </a:lnTo>
                <a:lnTo>
                  <a:pt x="396" y="289"/>
                </a:lnTo>
                <a:lnTo>
                  <a:pt x="397" y="291"/>
                </a:lnTo>
                <a:lnTo>
                  <a:pt x="398" y="292"/>
                </a:lnTo>
                <a:lnTo>
                  <a:pt x="400" y="293"/>
                </a:lnTo>
                <a:lnTo>
                  <a:pt x="400" y="292"/>
                </a:lnTo>
                <a:lnTo>
                  <a:pt x="401" y="292"/>
                </a:lnTo>
                <a:lnTo>
                  <a:pt x="404" y="290"/>
                </a:lnTo>
                <a:lnTo>
                  <a:pt x="407" y="289"/>
                </a:lnTo>
                <a:lnTo>
                  <a:pt x="409" y="289"/>
                </a:lnTo>
                <a:lnTo>
                  <a:pt x="410" y="289"/>
                </a:lnTo>
                <a:lnTo>
                  <a:pt x="416" y="289"/>
                </a:lnTo>
                <a:lnTo>
                  <a:pt x="421" y="292"/>
                </a:lnTo>
                <a:lnTo>
                  <a:pt x="422" y="294"/>
                </a:lnTo>
                <a:lnTo>
                  <a:pt x="424" y="297"/>
                </a:lnTo>
                <a:lnTo>
                  <a:pt x="425" y="301"/>
                </a:lnTo>
                <a:lnTo>
                  <a:pt x="426" y="304"/>
                </a:lnTo>
                <a:lnTo>
                  <a:pt x="426" y="312"/>
                </a:lnTo>
                <a:lnTo>
                  <a:pt x="425" y="321"/>
                </a:lnTo>
                <a:lnTo>
                  <a:pt x="423" y="327"/>
                </a:lnTo>
                <a:lnTo>
                  <a:pt x="422" y="332"/>
                </a:lnTo>
                <a:lnTo>
                  <a:pt x="420" y="340"/>
                </a:lnTo>
                <a:lnTo>
                  <a:pt x="417" y="350"/>
                </a:lnTo>
                <a:lnTo>
                  <a:pt x="414" y="361"/>
                </a:lnTo>
                <a:lnTo>
                  <a:pt x="412" y="365"/>
                </a:lnTo>
                <a:lnTo>
                  <a:pt x="412" y="368"/>
                </a:lnTo>
                <a:lnTo>
                  <a:pt x="408" y="375"/>
                </a:lnTo>
                <a:lnTo>
                  <a:pt x="406" y="378"/>
                </a:lnTo>
                <a:lnTo>
                  <a:pt x="404" y="381"/>
                </a:lnTo>
                <a:lnTo>
                  <a:pt x="401" y="384"/>
                </a:lnTo>
                <a:lnTo>
                  <a:pt x="398" y="385"/>
                </a:lnTo>
                <a:lnTo>
                  <a:pt x="394" y="386"/>
                </a:lnTo>
                <a:lnTo>
                  <a:pt x="390" y="386"/>
                </a:lnTo>
                <a:lnTo>
                  <a:pt x="390" y="386"/>
                </a:lnTo>
                <a:lnTo>
                  <a:pt x="390" y="386"/>
                </a:lnTo>
                <a:lnTo>
                  <a:pt x="390" y="386"/>
                </a:lnTo>
                <a:lnTo>
                  <a:pt x="390" y="386"/>
                </a:lnTo>
                <a:lnTo>
                  <a:pt x="387" y="386"/>
                </a:lnTo>
                <a:lnTo>
                  <a:pt x="385" y="386"/>
                </a:lnTo>
                <a:lnTo>
                  <a:pt x="381" y="404"/>
                </a:lnTo>
                <a:lnTo>
                  <a:pt x="377" y="422"/>
                </a:lnTo>
                <a:lnTo>
                  <a:pt x="371" y="438"/>
                </a:lnTo>
                <a:lnTo>
                  <a:pt x="364" y="453"/>
                </a:lnTo>
                <a:lnTo>
                  <a:pt x="362" y="459"/>
                </a:lnTo>
                <a:lnTo>
                  <a:pt x="361" y="466"/>
                </a:lnTo>
                <a:lnTo>
                  <a:pt x="361" y="473"/>
                </a:lnTo>
                <a:lnTo>
                  <a:pt x="361" y="481"/>
                </a:lnTo>
                <a:lnTo>
                  <a:pt x="362" y="487"/>
                </a:lnTo>
                <a:lnTo>
                  <a:pt x="364" y="493"/>
                </a:lnTo>
                <a:lnTo>
                  <a:pt x="368" y="503"/>
                </a:lnTo>
                <a:lnTo>
                  <a:pt x="371" y="508"/>
                </a:lnTo>
                <a:lnTo>
                  <a:pt x="381" y="515"/>
                </a:lnTo>
                <a:lnTo>
                  <a:pt x="397" y="522"/>
                </a:lnTo>
                <a:lnTo>
                  <a:pt x="418" y="531"/>
                </a:lnTo>
                <a:lnTo>
                  <a:pt x="441" y="541"/>
                </a:lnTo>
                <a:lnTo>
                  <a:pt x="422" y="548"/>
                </a:lnTo>
                <a:lnTo>
                  <a:pt x="404" y="557"/>
                </a:lnTo>
                <a:lnTo>
                  <a:pt x="386" y="565"/>
                </a:lnTo>
                <a:lnTo>
                  <a:pt x="369" y="574"/>
                </a:lnTo>
                <a:lnTo>
                  <a:pt x="353" y="583"/>
                </a:lnTo>
                <a:lnTo>
                  <a:pt x="340" y="593"/>
                </a:lnTo>
                <a:lnTo>
                  <a:pt x="328" y="602"/>
                </a:lnTo>
                <a:lnTo>
                  <a:pt x="318" y="612"/>
                </a:lnTo>
                <a:lnTo>
                  <a:pt x="313" y="617"/>
                </a:lnTo>
                <a:lnTo>
                  <a:pt x="308" y="625"/>
                </a:lnTo>
                <a:lnTo>
                  <a:pt x="304" y="632"/>
                </a:lnTo>
                <a:lnTo>
                  <a:pt x="299" y="641"/>
                </a:lnTo>
                <a:lnTo>
                  <a:pt x="295" y="650"/>
                </a:lnTo>
                <a:lnTo>
                  <a:pt x="292" y="660"/>
                </a:lnTo>
                <a:lnTo>
                  <a:pt x="289" y="670"/>
                </a:lnTo>
                <a:lnTo>
                  <a:pt x="286" y="681"/>
                </a:lnTo>
                <a:lnTo>
                  <a:pt x="282" y="703"/>
                </a:lnTo>
                <a:lnTo>
                  <a:pt x="279" y="726"/>
                </a:lnTo>
                <a:lnTo>
                  <a:pt x="279" y="750"/>
                </a:lnTo>
                <a:lnTo>
                  <a:pt x="280" y="772"/>
                </a:lnTo>
                <a:close/>
                <a:moveTo>
                  <a:pt x="1252" y="609"/>
                </a:moveTo>
                <a:lnTo>
                  <a:pt x="1250" y="606"/>
                </a:lnTo>
                <a:lnTo>
                  <a:pt x="1248" y="602"/>
                </a:lnTo>
                <a:lnTo>
                  <a:pt x="1243" y="597"/>
                </a:lnTo>
                <a:lnTo>
                  <a:pt x="1237" y="592"/>
                </a:lnTo>
                <a:lnTo>
                  <a:pt x="1228" y="585"/>
                </a:lnTo>
                <a:lnTo>
                  <a:pt x="1219" y="580"/>
                </a:lnTo>
                <a:lnTo>
                  <a:pt x="1191" y="566"/>
                </a:lnTo>
                <a:lnTo>
                  <a:pt x="1161" y="555"/>
                </a:lnTo>
                <a:lnTo>
                  <a:pt x="1148" y="548"/>
                </a:lnTo>
                <a:lnTo>
                  <a:pt x="1137" y="543"/>
                </a:lnTo>
                <a:lnTo>
                  <a:pt x="1128" y="539"/>
                </a:lnTo>
                <a:lnTo>
                  <a:pt x="1123" y="535"/>
                </a:lnTo>
                <a:lnTo>
                  <a:pt x="1120" y="530"/>
                </a:lnTo>
                <a:lnTo>
                  <a:pt x="1116" y="522"/>
                </a:lnTo>
                <a:lnTo>
                  <a:pt x="1115" y="517"/>
                </a:lnTo>
                <a:lnTo>
                  <a:pt x="1114" y="511"/>
                </a:lnTo>
                <a:lnTo>
                  <a:pt x="1114" y="505"/>
                </a:lnTo>
                <a:lnTo>
                  <a:pt x="1114" y="499"/>
                </a:lnTo>
                <a:lnTo>
                  <a:pt x="1115" y="493"/>
                </a:lnTo>
                <a:lnTo>
                  <a:pt x="1117" y="488"/>
                </a:lnTo>
                <a:lnTo>
                  <a:pt x="1120" y="482"/>
                </a:lnTo>
                <a:lnTo>
                  <a:pt x="1122" y="474"/>
                </a:lnTo>
                <a:lnTo>
                  <a:pt x="1139" y="472"/>
                </a:lnTo>
                <a:lnTo>
                  <a:pt x="1154" y="469"/>
                </a:lnTo>
                <a:lnTo>
                  <a:pt x="1168" y="466"/>
                </a:lnTo>
                <a:lnTo>
                  <a:pt x="1180" y="462"/>
                </a:lnTo>
                <a:lnTo>
                  <a:pt x="1192" y="458"/>
                </a:lnTo>
                <a:lnTo>
                  <a:pt x="1202" y="454"/>
                </a:lnTo>
                <a:lnTo>
                  <a:pt x="1211" y="450"/>
                </a:lnTo>
                <a:lnTo>
                  <a:pt x="1219" y="445"/>
                </a:lnTo>
                <a:lnTo>
                  <a:pt x="1226" y="440"/>
                </a:lnTo>
                <a:lnTo>
                  <a:pt x="1231" y="436"/>
                </a:lnTo>
                <a:lnTo>
                  <a:pt x="1237" y="431"/>
                </a:lnTo>
                <a:lnTo>
                  <a:pt x="1240" y="427"/>
                </a:lnTo>
                <a:lnTo>
                  <a:pt x="1243" y="421"/>
                </a:lnTo>
                <a:lnTo>
                  <a:pt x="1245" y="417"/>
                </a:lnTo>
                <a:lnTo>
                  <a:pt x="1247" y="413"/>
                </a:lnTo>
                <a:lnTo>
                  <a:pt x="1247" y="410"/>
                </a:lnTo>
                <a:lnTo>
                  <a:pt x="1237" y="405"/>
                </a:lnTo>
                <a:lnTo>
                  <a:pt x="1227" y="400"/>
                </a:lnTo>
                <a:lnTo>
                  <a:pt x="1219" y="395"/>
                </a:lnTo>
                <a:lnTo>
                  <a:pt x="1211" y="387"/>
                </a:lnTo>
                <a:lnTo>
                  <a:pt x="1205" y="380"/>
                </a:lnTo>
                <a:lnTo>
                  <a:pt x="1199" y="371"/>
                </a:lnTo>
                <a:lnTo>
                  <a:pt x="1195" y="363"/>
                </a:lnTo>
                <a:lnTo>
                  <a:pt x="1192" y="353"/>
                </a:lnTo>
                <a:lnTo>
                  <a:pt x="1189" y="343"/>
                </a:lnTo>
                <a:lnTo>
                  <a:pt x="1186" y="333"/>
                </a:lnTo>
                <a:lnTo>
                  <a:pt x="1184" y="322"/>
                </a:lnTo>
                <a:lnTo>
                  <a:pt x="1182" y="311"/>
                </a:lnTo>
                <a:lnTo>
                  <a:pt x="1180" y="288"/>
                </a:lnTo>
                <a:lnTo>
                  <a:pt x="1178" y="264"/>
                </a:lnTo>
                <a:lnTo>
                  <a:pt x="1176" y="251"/>
                </a:lnTo>
                <a:lnTo>
                  <a:pt x="1173" y="238"/>
                </a:lnTo>
                <a:lnTo>
                  <a:pt x="1169" y="225"/>
                </a:lnTo>
                <a:lnTo>
                  <a:pt x="1164" y="214"/>
                </a:lnTo>
                <a:lnTo>
                  <a:pt x="1158" y="202"/>
                </a:lnTo>
                <a:lnTo>
                  <a:pt x="1151" y="190"/>
                </a:lnTo>
                <a:lnTo>
                  <a:pt x="1143" y="181"/>
                </a:lnTo>
                <a:lnTo>
                  <a:pt x="1134" y="171"/>
                </a:lnTo>
                <a:lnTo>
                  <a:pt x="1124" y="163"/>
                </a:lnTo>
                <a:lnTo>
                  <a:pt x="1114" y="155"/>
                </a:lnTo>
                <a:lnTo>
                  <a:pt x="1103" y="148"/>
                </a:lnTo>
                <a:lnTo>
                  <a:pt x="1090" y="143"/>
                </a:lnTo>
                <a:lnTo>
                  <a:pt x="1078" y="138"/>
                </a:lnTo>
                <a:lnTo>
                  <a:pt x="1065" y="135"/>
                </a:lnTo>
                <a:lnTo>
                  <a:pt x="1051" y="133"/>
                </a:lnTo>
                <a:lnTo>
                  <a:pt x="1036" y="132"/>
                </a:lnTo>
                <a:lnTo>
                  <a:pt x="1023" y="133"/>
                </a:lnTo>
                <a:lnTo>
                  <a:pt x="1009" y="135"/>
                </a:lnTo>
                <a:lnTo>
                  <a:pt x="996" y="138"/>
                </a:lnTo>
                <a:lnTo>
                  <a:pt x="983" y="143"/>
                </a:lnTo>
                <a:lnTo>
                  <a:pt x="972" y="148"/>
                </a:lnTo>
                <a:lnTo>
                  <a:pt x="961" y="155"/>
                </a:lnTo>
                <a:lnTo>
                  <a:pt x="952" y="163"/>
                </a:lnTo>
                <a:lnTo>
                  <a:pt x="942" y="171"/>
                </a:lnTo>
                <a:lnTo>
                  <a:pt x="934" y="181"/>
                </a:lnTo>
                <a:lnTo>
                  <a:pt x="925" y="191"/>
                </a:lnTo>
                <a:lnTo>
                  <a:pt x="919" y="202"/>
                </a:lnTo>
                <a:lnTo>
                  <a:pt x="912" y="214"/>
                </a:lnTo>
                <a:lnTo>
                  <a:pt x="907" y="225"/>
                </a:lnTo>
                <a:lnTo>
                  <a:pt x="902" y="238"/>
                </a:lnTo>
                <a:lnTo>
                  <a:pt x="898" y="252"/>
                </a:lnTo>
                <a:lnTo>
                  <a:pt x="894" y="264"/>
                </a:lnTo>
                <a:lnTo>
                  <a:pt x="891" y="288"/>
                </a:lnTo>
                <a:lnTo>
                  <a:pt x="887" y="312"/>
                </a:lnTo>
                <a:lnTo>
                  <a:pt x="883" y="335"/>
                </a:lnTo>
                <a:lnTo>
                  <a:pt x="876" y="358"/>
                </a:lnTo>
                <a:lnTo>
                  <a:pt x="873" y="368"/>
                </a:lnTo>
                <a:lnTo>
                  <a:pt x="869" y="378"/>
                </a:lnTo>
                <a:lnTo>
                  <a:pt x="864" y="385"/>
                </a:lnTo>
                <a:lnTo>
                  <a:pt x="857" y="393"/>
                </a:lnTo>
                <a:lnTo>
                  <a:pt x="850" y="399"/>
                </a:lnTo>
                <a:lnTo>
                  <a:pt x="841" y="403"/>
                </a:lnTo>
                <a:lnTo>
                  <a:pt x="832" y="405"/>
                </a:lnTo>
                <a:lnTo>
                  <a:pt x="820" y="406"/>
                </a:lnTo>
                <a:lnTo>
                  <a:pt x="821" y="411"/>
                </a:lnTo>
                <a:lnTo>
                  <a:pt x="822" y="415"/>
                </a:lnTo>
                <a:lnTo>
                  <a:pt x="825" y="420"/>
                </a:lnTo>
                <a:lnTo>
                  <a:pt x="828" y="424"/>
                </a:lnTo>
                <a:lnTo>
                  <a:pt x="832" y="430"/>
                </a:lnTo>
                <a:lnTo>
                  <a:pt x="836" y="434"/>
                </a:lnTo>
                <a:lnTo>
                  <a:pt x="843" y="439"/>
                </a:lnTo>
                <a:lnTo>
                  <a:pt x="850" y="445"/>
                </a:lnTo>
                <a:lnTo>
                  <a:pt x="857" y="449"/>
                </a:lnTo>
                <a:lnTo>
                  <a:pt x="867" y="453"/>
                </a:lnTo>
                <a:lnTo>
                  <a:pt x="878" y="458"/>
                </a:lnTo>
                <a:lnTo>
                  <a:pt x="889" y="462"/>
                </a:lnTo>
                <a:lnTo>
                  <a:pt x="902" y="466"/>
                </a:lnTo>
                <a:lnTo>
                  <a:pt x="917" y="469"/>
                </a:lnTo>
                <a:lnTo>
                  <a:pt x="933" y="472"/>
                </a:lnTo>
                <a:lnTo>
                  <a:pt x="950" y="475"/>
                </a:lnTo>
                <a:lnTo>
                  <a:pt x="953" y="482"/>
                </a:lnTo>
                <a:lnTo>
                  <a:pt x="956" y="488"/>
                </a:lnTo>
                <a:lnTo>
                  <a:pt x="958" y="493"/>
                </a:lnTo>
                <a:lnTo>
                  <a:pt x="959" y="499"/>
                </a:lnTo>
                <a:lnTo>
                  <a:pt x="959" y="505"/>
                </a:lnTo>
                <a:lnTo>
                  <a:pt x="959" y="511"/>
                </a:lnTo>
                <a:lnTo>
                  <a:pt x="958" y="517"/>
                </a:lnTo>
                <a:lnTo>
                  <a:pt x="956" y="522"/>
                </a:lnTo>
                <a:lnTo>
                  <a:pt x="953" y="530"/>
                </a:lnTo>
                <a:lnTo>
                  <a:pt x="950" y="535"/>
                </a:lnTo>
                <a:lnTo>
                  <a:pt x="943" y="540"/>
                </a:lnTo>
                <a:lnTo>
                  <a:pt x="933" y="545"/>
                </a:lnTo>
                <a:lnTo>
                  <a:pt x="918" y="552"/>
                </a:lnTo>
                <a:lnTo>
                  <a:pt x="901" y="559"/>
                </a:lnTo>
                <a:lnTo>
                  <a:pt x="917" y="566"/>
                </a:lnTo>
                <a:lnTo>
                  <a:pt x="933" y="574"/>
                </a:lnTo>
                <a:lnTo>
                  <a:pt x="948" y="583"/>
                </a:lnTo>
                <a:lnTo>
                  <a:pt x="962" y="593"/>
                </a:lnTo>
                <a:lnTo>
                  <a:pt x="974" y="602"/>
                </a:lnTo>
                <a:lnTo>
                  <a:pt x="983" y="612"/>
                </a:lnTo>
                <a:lnTo>
                  <a:pt x="988" y="617"/>
                </a:lnTo>
                <a:lnTo>
                  <a:pt x="992" y="623"/>
                </a:lnTo>
                <a:lnTo>
                  <a:pt x="996" y="630"/>
                </a:lnTo>
                <a:lnTo>
                  <a:pt x="1000" y="637"/>
                </a:lnTo>
                <a:lnTo>
                  <a:pt x="1007" y="654"/>
                </a:lnTo>
                <a:lnTo>
                  <a:pt x="1012" y="674"/>
                </a:lnTo>
                <a:lnTo>
                  <a:pt x="1015" y="696"/>
                </a:lnTo>
                <a:lnTo>
                  <a:pt x="1018" y="718"/>
                </a:lnTo>
                <a:lnTo>
                  <a:pt x="1019" y="740"/>
                </a:lnTo>
                <a:lnTo>
                  <a:pt x="1020" y="762"/>
                </a:lnTo>
                <a:lnTo>
                  <a:pt x="1028" y="762"/>
                </a:lnTo>
                <a:lnTo>
                  <a:pt x="1036" y="762"/>
                </a:lnTo>
                <a:lnTo>
                  <a:pt x="1074" y="761"/>
                </a:lnTo>
                <a:lnTo>
                  <a:pt x="1108" y="761"/>
                </a:lnTo>
                <a:lnTo>
                  <a:pt x="1138" y="760"/>
                </a:lnTo>
                <a:lnTo>
                  <a:pt x="1162" y="758"/>
                </a:lnTo>
                <a:lnTo>
                  <a:pt x="1184" y="756"/>
                </a:lnTo>
                <a:lnTo>
                  <a:pt x="1200" y="754"/>
                </a:lnTo>
                <a:lnTo>
                  <a:pt x="1215" y="752"/>
                </a:lnTo>
                <a:lnTo>
                  <a:pt x="1227" y="749"/>
                </a:lnTo>
                <a:lnTo>
                  <a:pt x="1237" y="745"/>
                </a:lnTo>
                <a:lnTo>
                  <a:pt x="1243" y="743"/>
                </a:lnTo>
                <a:lnTo>
                  <a:pt x="1248" y="740"/>
                </a:lnTo>
                <a:lnTo>
                  <a:pt x="1252" y="737"/>
                </a:lnTo>
                <a:lnTo>
                  <a:pt x="1258" y="730"/>
                </a:lnTo>
                <a:lnTo>
                  <a:pt x="1262" y="723"/>
                </a:lnTo>
                <a:lnTo>
                  <a:pt x="1265" y="716"/>
                </a:lnTo>
                <a:lnTo>
                  <a:pt x="1267" y="705"/>
                </a:lnTo>
                <a:lnTo>
                  <a:pt x="1268" y="692"/>
                </a:lnTo>
                <a:lnTo>
                  <a:pt x="1268" y="678"/>
                </a:lnTo>
                <a:lnTo>
                  <a:pt x="1266" y="663"/>
                </a:lnTo>
                <a:lnTo>
                  <a:pt x="1263" y="646"/>
                </a:lnTo>
                <a:lnTo>
                  <a:pt x="1259" y="628"/>
                </a:lnTo>
                <a:lnTo>
                  <a:pt x="1252" y="609"/>
                </a:lnTo>
                <a:close/>
                <a:moveTo>
                  <a:pt x="963" y="632"/>
                </a:moveTo>
                <a:lnTo>
                  <a:pt x="956" y="624"/>
                </a:lnTo>
                <a:lnTo>
                  <a:pt x="945" y="615"/>
                </a:lnTo>
                <a:lnTo>
                  <a:pt x="933" y="607"/>
                </a:lnTo>
                <a:lnTo>
                  <a:pt x="919" y="598"/>
                </a:lnTo>
                <a:lnTo>
                  <a:pt x="879" y="579"/>
                </a:lnTo>
                <a:lnTo>
                  <a:pt x="835" y="561"/>
                </a:lnTo>
                <a:lnTo>
                  <a:pt x="815" y="553"/>
                </a:lnTo>
                <a:lnTo>
                  <a:pt x="798" y="544"/>
                </a:lnTo>
                <a:lnTo>
                  <a:pt x="786" y="538"/>
                </a:lnTo>
                <a:lnTo>
                  <a:pt x="779" y="533"/>
                </a:lnTo>
                <a:lnTo>
                  <a:pt x="774" y="525"/>
                </a:lnTo>
                <a:lnTo>
                  <a:pt x="768" y="513"/>
                </a:lnTo>
                <a:lnTo>
                  <a:pt x="766" y="506"/>
                </a:lnTo>
                <a:lnTo>
                  <a:pt x="765" y="498"/>
                </a:lnTo>
                <a:lnTo>
                  <a:pt x="764" y="488"/>
                </a:lnTo>
                <a:lnTo>
                  <a:pt x="765" y="478"/>
                </a:lnTo>
                <a:lnTo>
                  <a:pt x="766" y="471"/>
                </a:lnTo>
                <a:lnTo>
                  <a:pt x="769" y="463"/>
                </a:lnTo>
                <a:lnTo>
                  <a:pt x="778" y="444"/>
                </a:lnTo>
                <a:lnTo>
                  <a:pt x="785" y="423"/>
                </a:lnTo>
                <a:lnTo>
                  <a:pt x="791" y="401"/>
                </a:lnTo>
                <a:lnTo>
                  <a:pt x="795" y="378"/>
                </a:lnTo>
                <a:lnTo>
                  <a:pt x="798" y="379"/>
                </a:lnTo>
                <a:lnTo>
                  <a:pt x="802" y="379"/>
                </a:lnTo>
                <a:lnTo>
                  <a:pt x="802" y="379"/>
                </a:lnTo>
                <a:lnTo>
                  <a:pt x="802" y="379"/>
                </a:lnTo>
                <a:lnTo>
                  <a:pt x="802" y="379"/>
                </a:lnTo>
                <a:lnTo>
                  <a:pt x="802" y="379"/>
                </a:lnTo>
                <a:lnTo>
                  <a:pt x="807" y="378"/>
                </a:lnTo>
                <a:lnTo>
                  <a:pt x="812" y="378"/>
                </a:lnTo>
                <a:lnTo>
                  <a:pt x="816" y="376"/>
                </a:lnTo>
                <a:lnTo>
                  <a:pt x="820" y="371"/>
                </a:lnTo>
                <a:lnTo>
                  <a:pt x="823" y="367"/>
                </a:lnTo>
                <a:lnTo>
                  <a:pt x="826" y="363"/>
                </a:lnTo>
                <a:lnTo>
                  <a:pt x="829" y="355"/>
                </a:lnTo>
                <a:lnTo>
                  <a:pt x="830" y="351"/>
                </a:lnTo>
                <a:lnTo>
                  <a:pt x="831" y="346"/>
                </a:lnTo>
                <a:lnTo>
                  <a:pt x="835" y="332"/>
                </a:lnTo>
                <a:lnTo>
                  <a:pt x="839" y="319"/>
                </a:lnTo>
                <a:lnTo>
                  <a:pt x="843" y="309"/>
                </a:lnTo>
                <a:lnTo>
                  <a:pt x="845" y="303"/>
                </a:lnTo>
                <a:lnTo>
                  <a:pt x="847" y="294"/>
                </a:lnTo>
                <a:lnTo>
                  <a:pt x="849" y="285"/>
                </a:lnTo>
                <a:lnTo>
                  <a:pt x="848" y="274"/>
                </a:lnTo>
                <a:lnTo>
                  <a:pt x="847" y="269"/>
                </a:lnTo>
                <a:lnTo>
                  <a:pt x="846" y="266"/>
                </a:lnTo>
                <a:lnTo>
                  <a:pt x="844" y="261"/>
                </a:lnTo>
                <a:lnTo>
                  <a:pt x="840" y="259"/>
                </a:lnTo>
                <a:lnTo>
                  <a:pt x="837" y="257"/>
                </a:lnTo>
                <a:lnTo>
                  <a:pt x="834" y="255"/>
                </a:lnTo>
                <a:lnTo>
                  <a:pt x="831" y="254"/>
                </a:lnTo>
                <a:lnTo>
                  <a:pt x="828" y="254"/>
                </a:lnTo>
                <a:lnTo>
                  <a:pt x="826" y="254"/>
                </a:lnTo>
                <a:lnTo>
                  <a:pt x="825" y="254"/>
                </a:lnTo>
                <a:lnTo>
                  <a:pt x="823" y="255"/>
                </a:lnTo>
                <a:lnTo>
                  <a:pt x="822" y="255"/>
                </a:lnTo>
                <a:lnTo>
                  <a:pt x="822" y="234"/>
                </a:lnTo>
                <a:lnTo>
                  <a:pt x="825" y="214"/>
                </a:lnTo>
                <a:lnTo>
                  <a:pt x="827" y="195"/>
                </a:lnTo>
                <a:lnTo>
                  <a:pt x="828" y="176"/>
                </a:lnTo>
                <a:lnTo>
                  <a:pt x="827" y="157"/>
                </a:lnTo>
                <a:lnTo>
                  <a:pt x="823" y="141"/>
                </a:lnTo>
                <a:lnTo>
                  <a:pt x="819" y="124"/>
                </a:lnTo>
                <a:lnTo>
                  <a:pt x="814" y="107"/>
                </a:lnTo>
                <a:lnTo>
                  <a:pt x="807" y="92"/>
                </a:lnTo>
                <a:lnTo>
                  <a:pt x="797" y="77"/>
                </a:lnTo>
                <a:lnTo>
                  <a:pt x="787" y="63"/>
                </a:lnTo>
                <a:lnTo>
                  <a:pt x="776" y="50"/>
                </a:lnTo>
                <a:lnTo>
                  <a:pt x="763" y="40"/>
                </a:lnTo>
                <a:lnTo>
                  <a:pt x="749" y="29"/>
                </a:lnTo>
                <a:lnTo>
                  <a:pt x="735" y="21"/>
                </a:lnTo>
                <a:lnTo>
                  <a:pt x="720" y="13"/>
                </a:lnTo>
                <a:lnTo>
                  <a:pt x="704" y="7"/>
                </a:lnTo>
                <a:lnTo>
                  <a:pt x="687" y="3"/>
                </a:lnTo>
                <a:lnTo>
                  <a:pt x="669" y="0"/>
                </a:lnTo>
                <a:lnTo>
                  <a:pt x="651" y="0"/>
                </a:lnTo>
                <a:lnTo>
                  <a:pt x="651" y="0"/>
                </a:lnTo>
                <a:lnTo>
                  <a:pt x="633" y="0"/>
                </a:lnTo>
                <a:lnTo>
                  <a:pt x="615" y="3"/>
                </a:lnTo>
                <a:lnTo>
                  <a:pt x="598" y="7"/>
                </a:lnTo>
                <a:lnTo>
                  <a:pt x="582" y="13"/>
                </a:lnTo>
                <a:lnTo>
                  <a:pt x="566" y="21"/>
                </a:lnTo>
                <a:lnTo>
                  <a:pt x="551" y="29"/>
                </a:lnTo>
                <a:lnTo>
                  <a:pt x="539" y="40"/>
                </a:lnTo>
                <a:lnTo>
                  <a:pt x="526" y="50"/>
                </a:lnTo>
                <a:lnTo>
                  <a:pt x="514" y="63"/>
                </a:lnTo>
                <a:lnTo>
                  <a:pt x="504" y="77"/>
                </a:lnTo>
                <a:lnTo>
                  <a:pt x="495" y="92"/>
                </a:lnTo>
                <a:lnTo>
                  <a:pt x="488" y="107"/>
                </a:lnTo>
                <a:lnTo>
                  <a:pt x="481" y="124"/>
                </a:lnTo>
                <a:lnTo>
                  <a:pt x="477" y="141"/>
                </a:lnTo>
                <a:lnTo>
                  <a:pt x="475" y="157"/>
                </a:lnTo>
                <a:lnTo>
                  <a:pt x="474" y="176"/>
                </a:lnTo>
                <a:lnTo>
                  <a:pt x="475" y="195"/>
                </a:lnTo>
                <a:lnTo>
                  <a:pt x="477" y="215"/>
                </a:lnTo>
                <a:lnTo>
                  <a:pt x="478" y="224"/>
                </a:lnTo>
                <a:lnTo>
                  <a:pt x="479" y="235"/>
                </a:lnTo>
                <a:lnTo>
                  <a:pt x="479" y="244"/>
                </a:lnTo>
                <a:lnTo>
                  <a:pt x="479" y="255"/>
                </a:lnTo>
                <a:lnTo>
                  <a:pt x="478" y="254"/>
                </a:lnTo>
                <a:lnTo>
                  <a:pt x="477" y="254"/>
                </a:lnTo>
                <a:lnTo>
                  <a:pt x="475" y="254"/>
                </a:lnTo>
                <a:lnTo>
                  <a:pt x="473" y="254"/>
                </a:lnTo>
                <a:lnTo>
                  <a:pt x="470" y="254"/>
                </a:lnTo>
                <a:lnTo>
                  <a:pt x="467" y="255"/>
                </a:lnTo>
                <a:lnTo>
                  <a:pt x="463" y="257"/>
                </a:lnTo>
                <a:lnTo>
                  <a:pt x="460" y="259"/>
                </a:lnTo>
                <a:lnTo>
                  <a:pt x="458" y="261"/>
                </a:lnTo>
                <a:lnTo>
                  <a:pt x="456" y="266"/>
                </a:lnTo>
                <a:lnTo>
                  <a:pt x="454" y="269"/>
                </a:lnTo>
                <a:lnTo>
                  <a:pt x="453" y="274"/>
                </a:lnTo>
                <a:lnTo>
                  <a:pt x="453" y="285"/>
                </a:lnTo>
                <a:lnTo>
                  <a:pt x="455" y="294"/>
                </a:lnTo>
                <a:lnTo>
                  <a:pt x="457" y="303"/>
                </a:lnTo>
                <a:lnTo>
                  <a:pt x="459" y="309"/>
                </a:lnTo>
                <a:lnTo>
                  <a:pt x="461" y="319"/>
                </a:lnTo>
                <a:lnTo>
                  <a:pt x="466" y="332"/>
                </a:lnTo>
                <a:lnTo>
                  <a:pt x="470" y="346"/>
                </a:lnTo>
                <a:lnTo>
                  <a:pt x="472" y="351"/>
                </a:lnTo>
                <a:lnTo>
                  <a:pt x="473" y="355"/>
                </a:lnTo>
                <a:lnTo>
                  <a:pt x="476" y="363"/>
                </a:lnTo>
                <a:lnTo>
                  <a:pt x="478" y="367"/>
                </a:lnTo>
                <a:lnTo>
                  <a:pt x="481" y="371"/>
                </a:lnTo>
                <a:lnTo>
                  <a:pt x="485" y="376"/>
                </a:lnTo>
                <a:lnTo>
                  <a:pt x="490" y="378"/>
                </a:lnTo>
                <a:lnTo>
                  <a:pt x="494" y="378"/>
                </a:lnTo>
                <a:lnTo>
                  <a:pt x="499" y="379"/>
                </a:lnTo>
                <a:lnTo>
                  <a:pt x="499" y="379"/>
                </a:lnTo>
                <a:lnTo>
                  <a:pt x="499" y="379"/>
                </a:lnTo>
                <a:lnTo>
                  <a:pt x="499" y="379"/>
                </a:lnTo>
                <a:lnTo>
                  <a:pt x="499" y="379"/>
                </a:lnTo>
                <a:lnTo>
                  <a:pt x="503" y="379"/>
                </a:lnTo>
                <a:lnTo>
                  <a:pt x="506" y="378"/>
                </a:lnTo>
                <a:lnTo>
                  <a:pt x="511" y="401"/>
                </a:lnTo>
                <a:lnTo>
                  <a:pt x="516" y="423"/>
                </a:lnTo>
                <a:lnTo>
                  <a:pt x="524" y="444"/>
                </a:lnTo>
                <a:lnTo>
                  <a:pt x="532" y="463"/>
                </a:lnTo>
                <a:lnTo>
                  <a:pt x="534" y="471"/>
                </a:lnTo>
                <a:lnTo>
                  <a:pt x="537" y="478"/>
                </a:lnTo>
                <a:lnTo>
                  <a:pt x="538" y="488"/>
                </a:lnTo>
                <a:lnTo>
                  <a:pt x="537" y="498"/>
                </a:lnTo>
                <a:lnTo>
                  <a:pt x="535" y="506"/>
                </a:lnTo>
                <a:lnTo>
                  <a:pt x="533" y="513"/>
                </a:lnTo>
                <a:lnTo>
                  <a:pt x="528" y="525"/>
                </a:lnTo>
                <a:lnTo>
                  <a:pt x="523" y="533"/>
                </a:lnTo>
                <a:lnTo>
                  <a:pt x="515" y="538"/>
                </a:lnTo>
                <a:lnTo>
                  <a:pt x="503" y="544"/>
                </a:lnTo>
                <a:lnTo>
                  <a:pt x="486" y="553"/>
                </a:lnTo>
                <a:lnTo>
                  <a:pt x="467" y="561"/>
                </a:lnTo>
                <a:lnTo>
                  <a:pt x="423" y="579"/>
                </a:lnTo>
                <a:lnTo>
                  <a:pt x="383" y="598"/>
                </a:lnTo>
                <a:lnTo>
                  <a:pt x="368" y="607"/>
                </a:lnTo>
                <a:lnTo>
                  <a:pt x="356" y="615"/>
                </a:lnTo>
                <a:lnTo>
                  <a:pt x="346" y="624"/>
                </a:lnTo>
                <a:lnTo>
                  <a:pt x="338" y="632"/>
                </a:lnTo>
                <a:lnTo>
                  <a:pt x="332" y="637"/>
                </a:lnTo>
                <a:lnTo>
                  <a:pt x="327" y="646"/>
                </a:lnTo>
                <a:lnTo>
                  <a:pt x="323" y="655"/>
                </a:lnTo>
                <a:lnTo>
                  <a:pt x="318" y="667"/>
                </a:lnTo>
                <a:lnTo>
                  <a:pt x="315" y="679"/>
                </a:lnTo>
                <a:lnTo>
                  <a:pt x="312" y="691"/>
                </a:lnTo>
                <a:lnTo>
                  <a:pt x="310" y="705"/>
                </a:lnTo>
                <a:lnTo>
                  <a:pt x="308" y="720"/>
                </a:lnTo>
                <a:lnTo>
                  <a:pt x="307" y="734"/>
                </a:lnTo>
                <a:lnTo>
                  <a:pt x="307" y="748"/>
                </a:lnTo>
                <a:lnTo>
                  <a:pt x="307" y="760"/>
                </a:lnTo>
                <a:lnTo>
                  <a:pt x="308" y="773"/>
                </a:lnTo>
                <a:lnTo>
                  <a:pt x="310" y="785"/>
                </a:lnTo>
                <a:lnTo>
                  <a:pt x="312" y="795"/>
                </a:lnTo>
                <a:lnTo>
                  <a:pt x="314" y="804"/>
                </a:lnTo>
                <a:lnTo>
                  <a:pt x="318" y="810"/>
                </a:lnTo>
                <a:lnTo>
                  <a:pt x="325" y="820"/>
                </a:lnTo>
                <a:lnTo>
                  <a:pt x="332" y="829"/>
                </a:lnTo>
                <a:lnTo>
                  <a:pt x="338" y="833"/>
                </a:lnTo>
                <a:lnTo>
                  <a:pt x="346" y="839"/>
                </a:lnTo>
                <a:lnTo>
                  <a:pt x="356" y="843"/>
                </a:lnTo>
                <a:lnTo>
                  <a:pt x="370" y="847"/>
                </a:lnTo>
                <a:lnTo>
                  <a:pt x="387" y="851"/>
                </a:lnTo>
                <a:lnTo>
                  <a:pt x="408" y="855"/>
                </a:lnTo>
                <a:lnTo>
                  <a:pt x="434" y="858"/>
                </a:lnTo>
                <a:lnTo>
                  <a:pt x="464" y="861"/>
                </a:lnTo>
                <a:lnTo>
                  <a:pt x="502" y="863"/>
                </a:lnTo>
                <a:lnTo>
                  <a:pt x="544" y="865"/>
                </a:lnTo>
                <a:lnTo>
                  <a:pt x="594" y="866"/>
                </a:lnTo>
                <a:lnTo>
                  <a:pt x="651" y="866"/>
                </a:lnTo>
                <a:lnTo>
                  <a:pt x="708" y="866"/>
                </a:lnTo>
                <a:lnTo>
                  <a:pt x="757" y="865"/>
                </a:lnTo>
                <a:lnTo>
                  <a:pt x="800" y="863"/>
                </a:lnTo>
                <a:lnTo>
                  <a:pt x="836" y="861"/>
                </a:lnTo>
                <a:lnTo>
                  <a:pt x="868" y="858"/>
                </a:lnTo>
                <a:lnTo>
                  <a:pt x="893" y="855"/>
                </a:lnTo>
                <a:lnTo>
                  <a:pt x="915" y="851"/>
                </a:lnTo>
                <a:lnTo>
                  <a:pt x="932" y="847"/>
                </a:lnTo>
                <a:lnTo>
                  <a:pt x="945" y="843"/>
                </a:lnTo>
                <a:lnTo>
                  <a:pt x="956" y="839"/>
                </a:lnTo>
                <a:lnTo>
                  <a:pt x="963" y="833"/>
                </a:lnTo>
                <a:lnTo>
                  <a:pt x="970" y="829"/>
                </a:lnTo>
                <a:lnTo>
                  <a:pt x="977" y="820"/>
                </a:lnTo>
                <a:lnTo>
                  <a:pt x="983" y="810"/>
                </a:lnTo>
                <a:lnTo>
                  <a:pt x="987" y="804"/>
                </a:lnTo>
                <a:lnTo>
                  <a:pt x="989" y="794"/>
                </a:lnTo>
                <a:lnTo>
                  <a:pt x="991" y="785"/>
                </a:lnTo>
                <a:lnTo>
                  <a:pt x="992" y="772"/>
                </a:lnTo>
                <a:lnTo>
                  <a:pt x="992" y="759"/>
                </a:lnTo>
                <a:lnTo>
                  <a:pt x="992" y="745"/>
                </a:lnTo>
                <a:lnTo>
                  <a:pt x="991" y="732"/>
                </a:lnTo>
                <a:lnTo>
                  <a:pt x="990" y="717"/>
                </a:lnTo>
                <a:lnTo>
                  <a:pt x="988" y="703"/>
                </a:lnTo>
                <a:lnTo>
                  <a:pt x="986" y="689"/>
                </a:lnTo>
                <a:lnTo>
                  <a:pt x="983" y="676"/>
                </a:lnTo>
                <a:lnTo>
                  <a:pt x="980" y="664"/>
                </a:lnTo>
                <a:lnTo>
                  <a:pt x="976" y="653"/>
                </a:lnTo>
                <a:lnTo>
                  <a:pt x="972" y="644"/>
                </a:lnTo>
                <a:lnTo>
                  <a:pt x="968" y="636"/>
                </a:lnTo>
                <a:lnTo>
                  <a:pt x="963" y="63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468">
            <a:extLst>
              <a:ext uri="{FF2B5EF4-FFF2-40B4-BE49-F238E27FC236}">
                <a16:creationId xmlns:a16="http://schemas.microsoft.com/office/drawing/2014/main" id="{03D306E6-7715-4BBB-974D-1AA3A3A04692}"/>
              </a:ext>
            </a:extLst>
          </p:cNvPr>
          <p:cNvSpPr>
            <a:spLocks noEditPoints="1"/>
          </p:cNvSpPr>
          <p:nvPr/>
        </p:nvSpPr>
        <p:spPr bwMode="auto">
          <a:xfrm>
            <a:off x="808767" y="4376485"/>
            <a:ext cx="390525" cy="690284"/>
          </a:xfrm>
          <a:custGeom>
            <a:avLst/>
            <a:gdLst>
              <a:gd name="T0" fmla="*/ 3670 w 11070"/>
              <a:gd name="T1" fmla="*/ 9454 h 16335"/>
              <a:gd name="T2" fmla="*/ 3456 w 11070"/>
              <a:gd name="T3" fmla="*/ 9307 h 16335"/>
              <a:gd name="T4" fmla="*/ 3125 w 11070"/>
              <a:gd name="T5" fmla="*/ 9059 h 16335"/>
              <a:gd name="T6" fmla="*/ 3135 w 11070"/>
              <a:gd name="T7" fmla="*/ 7863 h 16335"/>
              <a:gd name="T8" fmla="*/ 3157 w 11070"/>
              <a:gd name="T9" fmla="*/ 7317 h 16335"/>
              <a:gd name="T10" fmla="*/ 3242 w 11070"/>
              <a:gd name="T11" fmla="*/ 7106 h 16335"/>
              <a:gd name="T12" fmla="*/ 3411 w 11070"/>
              <a:gd name="T13" fmla="*/ 6992 h 16335"/>
              <a:gd name="T14" fmla="*/ 4811 w 11070"/>
              <a:gd name="T15" fmla="*/ 8155 h 16335"/>
              <a:gd name="T16" fmla="*/ 6853 w 11070"/>
              <a:gd name="T17" fmla="*/ 8302 h 16335"/>
              <a:gd name="T18" fmla="*/ 8443 w 11070"/>
              <a:gd name="T19" fmla="*/ 7076 h 16335"/>
              <a:gd name="T20" fmla="*/ 10118 w 11070"/>
              <a:gd name="T21" fmla="*/ 6897 h 16335"/>
              <a:gd name="T22" fmla="*/ 11070 w 11070"/>
              <a:gd name="T23" fmla="*/ 6155 h 16335"/>
              <a:gd name="T24" fmla="*/ 11070 w 11070"/>
              <a:gd name="T25" fmla="*/ 4522 h 16335"/>
              <a:gd name="T26" fmla="*/ 8944 w 11070"/>
              <a:gd name="T27" fmla="*/ 4522 h 16335"/>
              <a:gd name="T28" fmla="*/ 7722 w 11070"/>
              <a:gd name="T29" fmla="*/ 4288 h 16335"/>
              <a:gd name="T30" fmla="*/ 7341 w 11070"/>
              <a:gd name="T31" fmla="*/ 3965 h 16335"/>
              <a:gd name="T32" fmla="*/ 7901 w 11070"/>
              <a:gd name="T33" fmla="*/ 3727 h 16335"/>
              <a:gd name="T34" fmla="*/ 7901 w 11070"/>
              <a:gd name="T35" fmla="*/ 3074 h 16335"/>
              <a:gd name="T36" fmla="*/ 7233 w 11070"/>
              <a:gd name="T37" fmla="*/ 2210 h 16335"/>
              <a:gd name="T38" fmla="*/ 6998 w 11070"/>
              <a:gd name="T39" fmla="*/ 1581 h 16335"/>
              <a:gd name="T40" fmla="*/ 6386 w 11070"/>
              <a:gd name="T41" fmla="*/ 1274 h 16335"/>
              <a:gd name="T42" fmla="*/ 6723 w 11070"/>
              <a:gd name="T43" fmla="*/ 855 h 16335"/>
              <a:gd name="T44" fmla="*/ 7650 w 11070"/>
              <a:gd name="T45" fmla="*/ 855 h 16335"/>
              <a:gd name="T46" fmla="*/ 8125 w 11070"/>
              <a:gd name="T47" fmla="*/ 1085 h 16335"/>
              <a:gd name="T48" fmla="*/ 8578 w 11070"/>
              <a:gd name="T49" fmla="*/ 989 h 16335"/>
              <a:gd name="T50" fmla="*/ 8787 w 11070"/>
              <a:gd name="T51" fmla="*/ 543 h 16335"/>
              <a:gd name="T52" fmla="*/ 8578 w 11070"/>
              <a:gd name="T53" fmla="*/ 117 h 16335"/>
              <a:gd name="T54" fmla="*/ 8136 w 11070"/>
              <a:gd name="T55" fmla="*/ 15 h 16335"/>
              <a:gd name="T56" fmla="*/ 7525 w 11070"/>
              <a:gd name="T57" fmla="*/ 223 h 16335"/>
              <a:gd name="T58" fmla="*/ 5232 w 11070"/>
              <a:gd name="T59" fmla="*/ 223 h 16335"/>
              <a:gd name="T60" fmla="*/ 4111 w 11070"/>
              <a:gd name="T61" fmla="*/ 37 h 16335"/>
              <a:gd name="T62" fmla="*/ 3642 w 11070"/>
              <a:gd name="T63" fmla="*/ 54 h 16335"/>
              <a:gd name="T64" fmla="*/ 3355 w 11070"/>
              <a:gd name="T65" fmla="*/ 404 h 16335"/>
              <a:gd name="T66" fmla="*/ 3455 w 11070"/>
              <a:gd name="T67" fmla="*/ 883 h 16335"/>
              <a:gd name="T68" fmla="*/ 3857 w 11070"/>
              <a:gd name="T69" fmla="*/ 1084 h 16335"/>
              <a:gd name="T70" fmla="*/ 4324 w 11070"/>
              <a:gd name="T71" fmla="*/ 927 h 16335"/>
              <a:gd name="T72" fmla="*/ 5113 w 11070"/>
              <a:gd name="T73" fmla="*/ 855 h 16335"/>
              <a:gd name="T74" fmla="*/ 5670 w 11070"/>
              <a:gd name="T75" fmla="*/ 1094 h 16335"/>
              <a:gd name="T76" fmla="*/ 5242 w 11070"/>
              <a:gd name="T77" fmla="*/ 1452 h 16335"/>
              <a:gd name="T78" fmla="*/ 4932 w 11070"/>
              <a:gd name="T79" fmla="*/ 2003 h 16335"/>
              <a:gd name="T80" fmla="*/ 4877 w 11070"/>
              <a:gd name="T81" fmla="*/ 2866 h 16335"/>
              <a:gd name="T82" fmla="*/ 4252 w 11070"/>
              <a:gd name="T83" fmla="*/ 3550 h 16335"/>
              <a:gd name="T84" fmla="*/ 4568 w 11070"/>
              <a:gd name="T85" fmla="*/ 3965 h 16335"/>
              <a:gd name="T86" fmla="*/ 4586 w 11070"/>
              <a:gd name="T87" fmla="*/ 4142 h 16335"/>
              <a:gd name="T88" fmla="*/ 4239 w 11070"/>
              <a:gd name="T89" fmla="*/ 4443 h 16335"/>
              <a:gd name="T90" fmla="*/ 3667 w 11070"/>
              <a:gd name="T91" fmla="*/ 4444 h 16335"/>
              <a:gd name="T92" fmla="*/ 2161 w 11070"/>
              <a:gd name="T93" fmla="*/ 4723 h 16335"/>
              <a:gd name="T94" fmla="*/ 1068 w 11070"/>
              <a:gd name="T95" fmla="*/ 6312 h 16335"/>
              <a:gd name="T96" fmla="*/ 908 w 11070"/>
              <a:gd name="T97" fmla="*/ 8511 h 16335"/>
              <a:gd name="T98" fmla="*/ 512 w 11070"/>
              <a:gd name="T99" fmla="*/ 9309 h 16335"/>
              <a:gd name="T100" fmla="*/ 379 w 11070"/>
              <a:gd name="T101" fmla="*/ 9514 h 16335"/>
              <a:gd name="T102" fmla="*/ 495 w 11070"/>
              <a:gd name="T103" fmla="*/ 10048 h 16335"/>
              <a:gd name="T104" fmla="*/ 1730 w 11070"/>
              <a:gd name="T105" fmla="*/ 10161 h 16335"/>
              <a:gd name="T106" fmla="*/ 3208 w 11070"/>
              <a:gd name="T107" fmla="*/ 10111 h 16335"/>
              <a:gd name="T108" fmla="*/ 1946 w 11070"/>
              <a:gd name="T109" fmla="*/ 10579 h 16335"/>
              <a:gd name="T110" fmla="*/ 1543 w 11070"/>
              <a:gd name="T111" fmla="*/ 11647 h 16335"/>
              <a:gd name="T112" fmla="*/ 1022 w 11070"/>
              <a:gd name="T113" fmla="*/ 12524 h 16335"/>
              <a:gd name="T114" fmla="*/ 30 w 11070"/>
              <a:gd name="T115" fmla="*/ 15013 h 16335"/>
              <a:gd name="T116" fmla="*/ 2335 w 11070"/>
              <a:gd name="T117" fmla="*/ 16321 h 16335"/>
              <a:gd name="T118" fmla="*/ 3976 w 11070"/>
              <a:gd name="T119" fmla="*/ 14374 h 16335"/>
              <a:gd name="T120" fmla="*/ 2902 w 11070"/>
              <a:gd name="T121" fmla="*/ 12402 h 16335"/>
              <a:gd name="T122" fmla="*/ 2430 w 11070"/>
              <a:gd name="T123" fmla="*/ 11558 h 16335"/>
              <a:gd name="T124" fmla="*/ 2075 w 11070"/>
              <a:gd name="T125" fmla="*/ 10552 h 16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70" h="16335">
                <a:moveTo>
                  <a:pt x="3696" y="9990"/>
                </a:moveTo>
                <a:lnTo>
                  <a:pt x="3696" y="9882"/>
                </a:lnTo>
                <a:lnTo>
                  <a:pt x="3697" y="9785"/>
                </a:lnTo>
                <a:lnTo>
                  <a:pt x="3698" y="9700"/>
                </a:lnTo>
                <a:lnTo>
                  <a:pt x="3696" y="9624"/>
                </a:lnTo>
                <a:lnTo>
                  <a:pt x="3694" y="9591"/>
                </a:lnTo>
                <a:lnTo>
                  <a:pt x="3692" y="9559"/>
                </a:lnTo>
                <a:lnTo>
                  <a:pt x="3688" y="9529"/>
                </a:lnTo>
                <a:lnTo>
                  <a:pt x="3684" y="9503"/>
                </a:lnTo>
                <a:lnTo>
                  <a:pt x="3677" y="9477"/>
                </a:lnTo>
                <a:lnTo>
                  <a:pt x="3670" y="9454"/>
                </a:lnTo>
                <a:lnTo>
                  <a:pt x="3661" y="9432"/>
                </a:lnTo>
                <a:lnTo>
                  <a:pt x="3650" y="9413"/>
                </a:lnTo>
                <a:lnTo>
                  <a:pt x="3638" y="9396"/>
                </a:lnTo>
                <a:lnTo>
                  <a:pt x="3623" y="9380"/>
                </a:lnTo>
                <a:lnTo>
                  <a:pt x="3607" y="9365"/>
                </a:lnTo>
                <a:lnTo>
                  <a:pt x="3589" y="9353"/>
                </a:lnTo>
                <a:lnTo>
                  <a:pt x="3567" y="9341"/>
                </a:lnTo>
                <a:lnTo>
                  <a:pt x="3544" y="9330"/>
                </a:lnTo>
                <a:lnTo>
                  <a:pt x="3517" y="9322"/>
                </a:lnTo>
                <a:lnTo>
                  <a:pt x="3488" y="9314"/>
                </a:lnTo>
                <a:lnTo>
                  <a:pt x="3456" y="9307"/>
                </a:lnTo>
                <a:lnTo>
                  <a:pt x="3421" y="9302"/>
                </a:lnTo>
                <a:lnTo>
                  <a:pt x="3383" y="9297"/>
                </a:lnTo>
                <a:lnTo>
                  <a:pt x="3341" y="9293"/>
                </a:lnTo>
                <a:lnTo>
                  <a:pt x="3296" y="9288"/>
                </a:lnTo>
                <a:lnTo>
                  <a:pt x="3248" y="9286"/>
                </a:lnTo>
                <a:lnTo>
                  <a:pt x="3196" y="9283"/>
                </a:lnTo>
                <a:lnTo>
                  <a:pt x="3140" y="9282"/>
                </a:lnTo>
                <a:lnTo>
                  <a:pt x="3135" y="9226"/>
                </a:lnTo>
                <a:lnTo>
                  <a:pt x="3131" y="9170"/>
                </a:lnTo>
                <a:lnTo>
                  <a:pt x="3128" y="9114"/>
                </a:lnTo>
                <a:lnTo>
                  <a:pt x="3125" y="9059"/>
                </a:lnTo>
                <a:lnTo>
                  <a:pt x="3121" y="8949"/>
                </a:lnTo>
                <a:lnTo>
                  <a:pt x="3118" y="8838"/>
                </a:lnTo>
                <a:lnTo>
                  <a:pt x="3117" y="8729"/>
                </a:lnTo>
                <a:lnTo>
                  <a:pt x="3117" y="8620"/>
                </a:lnTo>
                <a:lnTo>
                  <a:pt x="3119" y="8512"/>
                </a:lnTo>
                <a:lnTo>
                  <a:pt x="3121" y="8403"/>
                </a:lnTo>
                <a:lnTo>
                  <a:pt x="3123" y="8295"/>
                </a:lnTo>
                <a:lnTo>
                  <a:pt x="3126" y="8187"/>
                </a:lnTo>
                <a:lnTo>
                  <a:pt x="3129" y="8079"/>
                </a:lnTo>
                <a:lnTo>
                  <a:pt x="3133" y="7971"/>
                </a:lnTo>
                <a:lnTo>
                  <a:pt x="3135" y="7863"/>
                </a:lnTo>
                <a:lnTo>
                  <a:pt x="3138" y="7755"/>
                </a:lnTo>
                <a:lnTo>
                  <a:pt x="3139" y="7647"/>
                </a:lnTo>
                <a:lnTo>
                  <a:pt x="3140" y="7538"/>
                </a:lnTo>
                <a:lnTo>
                  <a:pt x="3140" y="7507"/>
                </a:lnTo>
                <a:lnTo>
                  <a:pt x="3141" y="7476"/>
                </a:lnTo>
                <a:lnTo>
                  <a:pt x="3142" y="7448"/>
                </a:lnTo>
                <a:lnTo>
                  <a:pt x="3144" y="7419"/>
                </a:lnTo>
                <a:lnTo>
                  <a:pt x="3146" y="7393"/>
                </a:lnTo>
                <a:lnTo>
                  <a:pt x="3149" y="7366"/>
                </a:lnTo>
                <a:lnTo>
                  <a:pt x="3152" y="7341"/>
                </a:lnTo>
                <a:lnTo>
                  <a:pt x="3157" y="7317"/>
                </a:lnTo>
                <a:lnTo>
                  <a:pt x="3162" y="7294"/>
                </a:lnTo>
                <a:lnTo>
                  <a:pt x="3167" y="7270"/>
                </a:lnTo>
                <a:lnTo>
                  <a:pt x="3173" y="7249"/>
                </a:lnTo>
                <a:lnTo>
                  <a:pt x="3179" y="7228"/>
                </a:lnTo>
                <a:lnTo>
                  <a:pt x="3186" y="7208"/>
                </a:lnTo>
                <a:lnTo>
                  <a:pt x="3193" y="7189"/>
                </a:lnTo>
                <a:lnTo>
                  <a:pt x="3202" y="7171"/>
                </a:lnTo>
                <a:lnTo>
                  <a:pt x="3211" y="7154"/>
                </a:lnTo>
                <a:lnTo>
                  <a:pt x="3221" y="7136"/>
                </a:lnTo>
                <a:lnTo>
                  <a:pt x="3231" y="7121"/>
                </a:lnTo>
                <a:lnTo>
                  <a:pt x="3242" y="7106"/>
                </a:lnTo>
                <a:lnTo>
                  <a:pt x="3254" y="7092"/>
                </a:lnTo>
                <a:lnTo>
                  <a:pt x="3266" y="7078"/>
                </a:lnTo>
                <a:lnTo>
                  <a:pt x="3279" y="7066"/>
                </a:lnTo>
                <a:lnTo>
                  <a:pt x="3293" y="7054"/>
                </a:lnTo>
                <a:lnTo>
                  <a:pt x="3308" y="7043"/>
                </a:lnTo>
                <a:lnTo>
                  <a:pt x="3323" y="7033"/>
                </a:lnTo>
                <a:lnTo>
                  <a:pt x="3339" y="7023"/>
                </a:lnTo>
                <a:lnTo>
                  <a:pt x="3356" y="7015"/>
                </a:lnTo>
                <a:lnTo>
                  <a:pt x="3373" y="7007"/>
                </a:lnTo>
                <a:lnTo>
                  <a:pt x="3391" y="7000"/>
                </a:lnTo>
                <a:lnTo>
                  <a:pt x="3411" y="6992"/>
                </a:lnTo>
                <a:lnTo>
                  <a:pt x="3431" y="6986"/>
                </a:lnTo>
                <a:lnTo>
                  <a:pt x="3452" y="6981"/>
                </a:lnTo>
                <a:lnTo>
                  <a:pt x="3571" y="7160"/>
                </a:lnTo>
                <a:lnTo>
                  <a:pt x="3701" y="7325"/>
                </a:lnTo>
                <a:lnTo>
                  <a:pt x="3838" y="7480"/>
                </a:lnTo>
                <a:lnTo>
                  <a:pt x="3984" y="7622"/>
                </a:lnTo>
                <a:lnTo>
                  <a:pt x="4137" y="7752"/>
                </a:lnTo>
                <a:lnTo>
                  <a:pt x="4297" y="7871"/>
                </a:lnTo>
                <a:lnTo>
                  <a:pt x="4464" y="7978"/>
                </a:lnTo>
                <a:lnTo>
                  <a:pt x="4634" y="8073"/>
                </a:lnTo>
                <a:lnTo>
                  <a:pt x="4811" y="8155"/>
                </a:lnTo>
                <a:lnTo>
                  <a:pt x="4991" y="8227"/>
                </a:lnTo>
                <a:lnTo>
                  <a:pt x="5173" y="8286"/>
                </a:lnTo>
                <a:lnTo>
                  <a:pt x="5359" y="8334"/>
                </a:lnTo>
                <a:lnTo>
                  <a:pt x="5547" y="8371"/>
                </a:lnTo>
                <a:lnTo>
                  <a:pt x="5736" y="8395"/>
                </a:lnTo>
                <a:lnTo>
                  <a:pt x="5925" y="8408"/>
                </a:lnTo>
                <a:lnTo>
                  <a:pt x="6114" y="8410"/>
                </a:lnTo>
                <a:lnTo>
                  <a:pt x="6302" y="8400"/>
                </a:lnTo>
                <a:lnTo>
                  <a:pt x="6488" y="8379"/>
                </a:lnTo>
                <a:lnTo>
                  <a:pt x="6672" y="8346"/>
                </a:lnTo>
                <a:lnTo>
                  <a:pt x="6853" y="8302"/>
                </a:lnTo>
                <a:lnTo>
                  <a:pt x="7030" y="8247"/>
                </a:lnTo>
                <a:lnTo>
                  <a:pt x="7203" y="8181"/>
                </a:lnTo>
                <a:lnTo>
                  <a:pt x="7370" y="8102"/>
                </a:lnTo>
                <a:lnTo>
                  <a:pt x="7533" y="8013"/>
                </a:lnTo>
                <a:lnTo>
                  <a:pt x="7688" y="7912"/>
                </a:lnTo>
                <a:lnTo>
                  <a:pt x="7836" y="7801"/>
                </a:lnTo>
                <a:lnTo>
                  <a:pt x="7976" y="7677"/>
                </a:lnTo>
                <a:lnTo>
                  <a:pt x="8107" y="7544"/>
                </a:lnTo>
                <a:lnTo>
                  <a:pt x="8229" y="7399"/>
                </a:lnTo>
                <a:lnTo>
                  <a:pt x="8341" y="7243"/>
                </a:lnTo>
                <a:lnTo>
                  <a:pt x="8443" y="7076"/>
                </a:lnTo>
                <a:lnTo>
                  <a:pt x="8533" y="6897"/>
                </a:lnTo>
                <a:lnTo>
                  <a:pt x="8692" y="6897"/>
                </a:lnTo>
                <a:lnTo>
                  <a:pt x="8850" y="6897"/>
                </a:lnTo>
                <a:lnTo>
                  <a:pt x="9009" y="6897"/>
                </a:lnTo>
                <a:lnTo>
                  <a:pt x="9167" y="6897"/>
                </a:lnTo>
                <a:lnTo>
                  <a:pt x="9326" y="6897"/>
                </a:lnTo>
                <a:lnTo>
                  <a:pt x="9485" y="6897"/>
                </a:lnTo>
                <a:lnTo>
                  <a:pt x="9643" y="6897"/>
                </a:lnTo>
                <a:lnTo>
                  <a:pt x="9802" y="6897"/>
                </a:lnTo>
                <a:lnTo>
                  <a:pt x="9960" y="6897"/>
                </a:lnTo>
                <a:lnTo>
                  <a:pt x="10118" y="6897"/>
                </a:lnTo>
                <a:lnTo>
                  <a:pt x="10278" y="6897"/>
                </a:lnTo>
                <a:lnTo>
                  <a:pt x="10436" y="6897"/>
                </a:lnTo>
                <a:lnTo>
                  <a:pt x="10594" y="6897"/>
                </a:lnTo>
                <a:lnTo>
                  <a:pt x="10753" y="6897"/>
                </a:lnTo>
                <a:lnTo>
                  <a:pt x="10912" y="6897"/>
                </a:lnTo>
                <a:lnTo>
                  <a:pt x="11070" y="6897"/>
                </a:lnTo>
                <a:lnTo>
                  <a:pt x="11070" y="6749"/>
                </a:lnTo>
                <a:lnTo>
                  <a:pt x="11070" y="6600"/>
                </a:lnTo>
                <a:lnTo>
                  <a:pt x="11070" y="6452"/>
                </a:lnTo>
                <a:lnTo>
                  <a:pt x="11070" y="6303"/>
                </a:lnTo>
                <a:lnTo>
                  <a:pt x="11070" y="6155"/>
                </a:lnTo>
                <a:lnTo>
                  <a:pt x="11070" y="6007"/>
                </a:lnTo>
                <a:lnTo>
                  <a:pt x="11070" y="5858"/>
                </a:lnTo>
                <a:lnTo>
                  <a:pt x="11070" y="5710"/>
                </a:lnTo>
                <a:lnTo>
                  <a:pt x="11070" y="5561"/>
                </a:lnTo>
                <a:lnTo>
                  <a:pt x="11070" y="5413"/>
                </a:lnTo>
                <a:lnTo>
                  <a:pt x="11070" y="5264"/>
                </a:lnTo>
                <a:lnTo>
                  <a:pt x="11070" y="5116"/>
                </a:lnTo>
                <a:lnTo>
                  <a:pt x="11070" y="4967"/>
                </a:lnTo>
                <a:lnTo>
                  <a:pt x="11070" y="4819"/>
                </a:lnTo>
                <a:lnTo>
                  <a:pt x="11070" y="4671"/>
                </a:lnTo>
                <a:lnTo>
                  <a:pt x="11070" y="4522"/>
                </a:lnTo>
                <a:lnTo>
                  <a:pt x="10877" y="4522"/>
                </a:lnTo>
                <a:lnTo>
                  <a:pt x="10683" y="4522"/>
                </a:lnTo>
                <a:lnTo>
                  <a:pt x="10490" y="4522"/>
                </a:lnTo>
                <a:lnTo>
                  <a:pt x="10297" y="4522"/>
                </a:lnTo>
                <a:lnTo>
                  <a:pt x="10104" y="4522"/>
                </a:lnTo>
                <a:lnTo>
                  <a:pt x="9910" y="4522"/>
                </a:lnTo>
                <a:lnTo>
                  <a:pt x="9717" y="4522"/>
                </a:lnTo>
                <a:lnTo>
                  <a:pt x="9524" y="4522"/>
                </a:lnTo>
                <a:lnTo>
                  <a:pt x="9330" y="4522"/>
                </a:lnTo>
                <a:lnTo>
                  <a:pt x="9137" y="4522"/>
                </a:lnTo>
                <a:lnTo>
                  <a:pt x="8944" y="4522"/>
                </a:lnTo>
                <a:lnTo>
                  <a:pt x="8751" y="4522"/>
                </a:lnTo>
                <a:lnTo>
                  <a:pt x="8557" y="4522"/>
                </a:lnTo>
                <a:lnTo>
                  <a:pt x="8364" y="4522"/>
                </a:lnTo>
                <a:lnTo>
                  <a:pt x="8171" y="4522"/>
                </a:lnTo>
                <a:lnTo>
                  <a:pt x="7978" y="4522"/>
                </a:lnTo>
                <a:lnTo>
                  <a:pt x="7937" y="4482"/>
                </a:lnTo>
                <a:lnTo>
                  <a:pt x="7896" y="4443"/>
                </a:lnTo>
                <a:lnTo>
                  <a:pt x="7854" y="4403"/>
                </a:lnTo>
                <a:lnTo>
                  <a:pt x="7811" y="4365"/>
                </a:lnTo>
                <a:lnTo>
                  <a:pt x="7767" y="4326"/>
                </a:lnTo>
                <a:lnTo>
                  <a:pt x="7722" y="4288"/>
                </a:lnTo>
                <a:lnTo>
                  <a:pt x="7678" y="4250"/>
                </a:lnTo>
                <a:lnTo>
                  <a:pt x="7632" y="4213"/>
                </a:lnTo>
                <a:lnTo>
                  <a:pt x="7586" y="4178"/>
                </a:lnTo>
                <a:lnTo>
                  <a:pt x="7540" y="4143"/>
                </a:lnTo>
                <a:lnTo>
                  <a:pt x="7493" y="4109"/>
                </a:lnTo>
                <a:lnTo>
                  <a:pt x="7447" y="4078"/>
                </a:lnTo>
                <a:lnTo>
                  <a:pt x="7400" y="4047"/>
                </a:lnTo>
                <a:lnTo>
                  <a:pt x="7354" y="4017"/>
                </a:lnTo>
                <a:lnTo>
                  <a:pt x="7307" y="3991"/>
                </a:lnTo>
                <a:lnTo>
                  <a:pt x="7261" y="3965"/>
                </a:lnTo>
                <a:lnTo>
                  <a:pt x="7341" y="3965"/>
                </a:lnTo>
                <a:lnTo>
                  <a:pt x="7421" y="3965"/>
                </a:lnTo>
                <a:lnTo>
                  <a:pt x="7501" y="3965"/>
                </a:lnTo>
                <a:lnTo>
                  <a:pt x="7580" y="3965"/>
                </a:lnTo>
                <a:lnTo>
                  <a:pt x="7661" y="3965"/>
                </a:lnTo>
                <a:lnTo>
                  <a:pt x="7741" y="3965"/>
                </a:lnTo>
                <a:lnTo>
                  <a:pt x="7820" y="3965"/>
                </a:lnTo>
                <a:lnTo>
                  <a:pt x="7901" y="3965"/>
                </a:lnTo>
                <a:lnTo>
                  <a:pt x="7901" y="3906"/>
                </a:lnTo>
                <a:lnTo>
                  <a:pt x="7901" y="3847"/>
                </a:lnTo>
                <a:lnTo>
                  <a:pt x="7901" y="3788"/>
                </a:lnTo>
                <a:lnTo>
                  <a:pt x="7901" y="3727"/>
                </a:lnTo>
                <a:lnTo>
                  <a:pt x="7901" y="3668"/>
                </a:lnTo>
                <a:lnTo>
                  <a:pt x="7901" y="3609"/>
                </a:lnTo>
                <a:lnTo>
                  <a:pt x="7901" y="3550"/>
                </a:lnTo>
                <a:lnTo>
                  <a:pt x="7901" y="3490"/>
                </a:lnTo>
                <a:lnTo>
                  <a:pt x="7901" y="3430"/>
                </a:lnTo>
                <a:lnTo>
                  <a:pt x="7901" y="3371"/>
                </a:lnTo>
                <a:lnTo>
                  <a:pt x="7901" y="3312"/>
                </a:lnTo>
                <a:lnTo>
                  <a:pt x="7901" y="3252"/>
                </a:lnTo>
                <a:lnTo>
                  <a:pt x="7901" y="3192"/>
                </a:lnTo>
                <a:lnTo>
                  <a:pt x="7901" y="3133"/>
                </a:lnTo>
                <a:lnTo>
                  <a:pt x="7901" y="3074"/>
                </a:lnTo>
                <a:lnTo>
                  <a:pt x="7901" y="3015"/>
                </a:lnTo>
                <a:lnTo>
                  <a:pt x="7254" y="3015"/>
                </a:lnTo>
                <a:lnTo>
                  <a:pt x="7255" y="2865"/>
                </a:lnTo>
                <a:lnTo>
                  <a:pt x="7256" y="2715"/>
                </a:lnTo>
                <a:lnTo>
                  <a:pt x="7256" y="2640"/>
                </a:lnTo>
                <a:lnTo>
                  <a:pt x="7255" y="2566"/>
                </a:lnTo>
                <a:lnTo>
                  <a:pt x="7253" y="2493"/>
                </a:lnTo>
                <a:lnTo>
                  <a:pt x="7251" y="2421"/>
                </a:lnTo>
                <a:lnTo>
                  <a:pt x="7247" y="2349"/>
                </a:lnTo>
                <a:lnTo>
                  <a:pt x="7240" y="2279"/>
                </a:lnTo>
                <a:lnTo>
                  <a:pt x="7233" y="2210"/>
                </a:lnTo>
                <a:lnTo>
                  <a:pt x="7225" y="2143"/>
                </a:lnTo>
                <a:lnTo>
                  <a:pt x="7214" y="2077"/>
                </a:lnTo>
                <a:lnTo>
                  <a:pt x="7202" y="2012"/>
                </a:lnTo>
                <a:lnTo>
                  <a:pt x="7186" y="1950"/>
                </a:lnTo>
                <a:lnTo>
                  <a:pt x="7168" y="1891"/>
                </a:lnTo>
                <a:lnTo>
                  <a:pt x="7148" y="1833"/>
                </a:lnTo>
                <a:lnTo>
                  <a:pt x="7124" y="1776"/>
                </a:lnTo>
                <a:lnTo>
                  <a:pt x="7098" y="1724"/>
                </a:lnTo>
                <a:lnTo>
                  <a:pt x="7068" y="1673"/>
                </a:lnTo>
                <a:lnTo>
                  <a:pt x="7035" y="1626"/>
                </a:lnTo>
                <a:lnTo>
                  <a:pt x="6998" y="1581"/>
                </a:lnTo>
                <a:lnTo>
                  <a:pt x="6958" y="1541"/>
                </a:lnTo>
                <a:lnTo>
                  <a:pt x="6913" y="1502"/>
                </a:lnTo>
                <a:lnTo>
                  <a:pt x="6864" y="1467"/>
                </a:lnTo>
                <a:lnTo>
                  <a:pt x="6809" y="1436"/>
                </a:lnTo>
                <a:lnTo>
                  <a:pt x="6752" y="1409"/>
                </a:lnTo>
                <a:lnTo>
                  <a:pt x="6689" y="1385"/>
                </a:lnTo>
                <a:lnTo>
                  <a:pt x="6622" y="1366"/>
                </a:lnTo>
                <a:lnTo>
                  <a:pt x="6548" y="1351"/>
                </a:lnTo>
                <a:lnTo>
                  <a:pt x="6469" y="1340"/>
                </a:lnTo>
                <a:lnTo>
                  <a:pt x="6386" y="1334"/>
                </a:lnTo>
                <a:lnTo>
                  <a:pt x="6386" y="1274"/>
                </a:lnTo>
                <a:lnTo>
                  <a:pt x="6386" y="1215"/>
                </a:lnTo>
                <a:lnTo>
                  <a:pt x="6386" y="1155"/>
                </a:lnTo>
                <a:lnTo>
                  <a:pt x="6386" y="1094"/>
                </a:lnTo>
                <a:lnTo>
                  <a:pt x="6386" y="1035"/>
                </a:lnTo>
                <a:lnTo>
                  <a:pt x="6386" y="975"/>
                </a:lnTo>
                <a:lnTo>
                  <a:pt x="6386" y="915"/>
                </a:lnTo>
                <a:lnTo>
                  <a:pt x="6386" y="855"/>
                </a:lnTo>
                <a:lnTo>
                  <a:pt x="6470" y="855"/>
                </a:lnTo>
                <a:lnTo>
                  <a:pt x="6554" y="855"/>
                </a:lnTo>
                <a:lnTo>
                  <a:pt x="6639" y="855"/>
                </a:lnTo>
                <a:lnTo>
                  <a:pt x="6723" y="855"/>
                </a:lnTo>
                <a:lnTo>
                  <a:pt x="6807" y="855"/>
                </a:lnTo>
                <a:lnTo>
                  <a:pt x="6891" y="855"/>
                </a:lnTo>
                <a:lnTo>
                  <a:pt x="6976" y="855"/>
                </a:lnTo>
                <a:lnTo>
                  <a:pt x="7061" y="855"/>
                </a:lnTo>
                <a:lnTo>
                  <a:pt x="7144" y="855"/>
                </a:lnTo>
                <a:lnTo>
                  <a:pt x="7229" y="855"/>
                </a:lnTo>
                <a:lnTo>
                  <a:pt x="7313" y="855"/>
                </a:lnTo>
                <a:lnTo>
                  <a:pt x="7398" y="855"/>
                </a:lnTo>
                <a:lnTo>
                  <a:pt x="7481" y="855"/>
                </a:lnTo>
                <a:lnTo>
                  <a:pt x="7566" y="855"/>
                </a:lnTo>
                <a:lnTo>
                  <a:pt x="7650" y="855"/>
                </a:lnTo>
                <a:lnTo>
                  <a:pt x="7735" y="855"/>
                </a:lnTo>
                <a:lnTo>
                  <a:pt x="7766" y="891"/>
                </a:lnTo>
                <a:lnTo>
                  <a:pt x="7800" y="926"/>
                </a:lnTo>
                <a:lnTo>
                  <a:pt x="7836" y="957"/>
                </a:lnTo>
                <a:lnTo>
                  <a:pt x="7874" y="984"/>
                </a:lnTo>
                <a:lnTo>
                  <a:pt x="7912" y="1009"/>
                </a:lnTo>
                <a:lnTo>
                  <a:pt x="7953" y="1030"/>
                </a:lnTo>
                <a:lnTo>
                  <a:pt x="7995" y="1049"/>
                </a:lnTo>
                <a:lnTo>
                  <a:pt x="8037" y="1064"/>
                </a:lnTo>
                <a:lnTo>
                  <a:pt x="8081" y="1076"/>
                </a:lnTo>
                <a:lnTo>
                  <a:pt x="8125" y="1085"/>
                </a:lnTo>
                <a:lnTo>
                  <a:pt x="8169" y="1091"/>
                </a:lnTo>
                <a:lnTo>
                  <a:pt x="8213" y="1094"/>
                </a:lnTo>
                <a:lnTo>
                  <a:pt x="8257" y="1094"/>
                </a:lnTo>
                <a:lnTo>
                  <a:pt x="8300" y="1091"/>
                </a:lnTo>
                <a:lnTo>
                  <a:pt x="8343" y="1086"/>
                </a:lnTo>
                <a:lnTo>
                  <a:pt x="8386" y="1077"/>
                </a:lnTo>
                <a:lnTo>
                  <a:pt x="8427" y="1066"/>
                </a:lnTo>
                <a:lnTo>
                  <a:pt x="8467" y="1051"/>
                </a:lnTo>
                <a:lnTo>
                  <a:pt x="8506" y="1033"/>
                </a:lnTo>
                <a:lnTo>
                  <a:pt x="8544" y="1013"/>
                </a:lnTo>
                <a:lnTo>
                  <a:pt x="8578" y="989"/>
                </a:lnTo>
                <a:lnTo>
                  <a:pt x="8612" y="963"/>
                </a:lnTo>
                <a:lnTo>
                  <a:pt x="8644" y="934"/>
                </a:lnTo>
                <a:lnTo>
                  <a:pt x="8671" y="901"/>
                </a:lnTo>
                <a:lnTo>
                  <a:pt x="8698" y="867"/>
                </a:lnTo>
                <a:lnTo>
                  <a:pt x="8720" y="829"/>
                </a:lnTo>
                <a:lnTo>
                  <a:pt x="8741" y="788"/>
                </a:lnTo>
                <a:lnTo>
                  <a:pt x="8757" y="745"/>
                </a:lnTo>
                <a:lnTo>
                  <a:pt x="8770" y="698"/>
                </a:lnTo>
                <a:lnTo>
                  <a:pt x="8779" y="649"/>
                </a:lnTo>
                <a:lnTo>
                  <a:pt x="8785" y="598"/>
                </a:lnTo>
                <a:lnTo>
                  <a:pt x="8787" y="543"/>
                </a:lnTo>
                <a:lnTo>
                  <a:pt x="8783" y="492"/>
                </a:lnTo>
                <a:lnTo>
                  <a:pt x="8776" y="443"/>
                </a:lnTo>
                <a:lnTo>
                  <a:pt x="8766" y="396"/>
                </a:lnTo>
                <a:lnTo>
                  <a:pt x="8753" y="352"/>
                </a:lnTo>
                <a:lnTo>
                  <a:pt x="8735" y="311"/>
                </a:lnTo>
                <a:lnTo>
                  <a:pt x="8716" y="273"/>
                </a:lnTo>
                <a:lnTo>
                  <a:pt x="8694" y="236"/>
                </a:lnTo>
                <a:lnTo>
                  <a:pt x="8668" y="202"/>
                </a:lnTo>
                <a:lnTo>
                  <a:pt x="8641" y="172"/>
                </a:lnTo>
                <a:lnTo>
                  <a:pt x="8610" y="143"/>
                </a:lnTo>
                <a:lnTo>
                  <a:pt x="8578" y="117"/>
                </a:lnTo>
                <a:lnTo>
                  <a:pt x="8544" y="94"/>
                </a:lnTo>
                <a:lnTo>
                  <a:pt x="8508" y="75"/>
                </a:lnTo>
                <a:lnTo>
                  <a:pt x="8471" y="56"/>
                </a:lnTo>
                <a:lnTo>
                  <a:pt x="8432" y="42"/>
                </a:lnTo>
                <a:lnTo>
                  <a:pt x="8391" y="30"/>
                </a:lnTo>
                <a:lnTo>
                  <a:pt x="8350" y="20"/>
                </a:lnTo>
                <a:lnTo>
                  <a:pt x="8309" y="14"/>
                </a:lnTo>
                <a:lnTo>
                  <a:pt x="8266" y="10"/>
                </a:lnTo>
                <a:lnTo>
                  <a:pt x="8223" y="9"/>
                </a:lnTo>
                <a:lnTo>
                  <a:pt x="8180" y="11"/>
                </a:lnTo>
                <a:lnTo>
                  <a:pt x="8136" y="15"/>
                </a:lnTo>
                <a:lnTo>
                  <a:pt x="8093" y="23"/>
                </a:lnTo>
                <a:lnTo>
                  <a:pt x="8049" y="34"/>
                </a:lnTo>
                <a:lnTo>
                  <a:pt x="8007" y="47"/>
                </a:lnTo>
                <a:lnTo>
                  <a:pt x="7964" y="63"/>
                </a:lnTo>
                <a:lnTo>
                  <a:pt x="7924" y="83"/>
                </a:lnTo>
                <a:lnTo>
                  <a:pt x="7883" y="104"/>
                </a:lnTo>
                <a:lnTo>
                  <a:pt x="7844" y="130"/>
                </a:lnTo>
                <a:lnTo>
                  <a:pt x="7805" y="157"/>
                </a:lnTo>
                <a:lnTo>
                  <a:pt x="7769" y="188"/>
                </a:lnTo>
                <a:lnTo>
                  <a:pt x="7735" y="223"/>
                </a:lnTo>
                <a:lnTo>
                  <a:pt x="7525" y="223"/>
                </a:lnTo>
                <a:lnTo>
                  <a:pt x="7317" y="223"/>
                </a:lnTo>
                <a:lnTo>
                  <a:pt x="7109" y="223"/>
                </a:lnTo>
                <a:lnTo>
                  <a:pt x="6900" y="223"/>
                </a:lnTo>
                <a:lnTo>
                  <a:pt x="6691" y="223"/>
                </a:lnTo>
                <a:lnTo>
                  <a:pt x="6483" y="223"/>
                </a:lnTo>
                <a:lnTo>
                  <a:pt x="6274" y="223"/>
                </a:lnTo>
                <a:lnTo>
                  <a:pt x="6065" y="223"/>
                </a:lnTo>
                <a:lnTo>
                  <a:pt x="5857" y="223"/>
                </a:lnTo>
                <a:lnTo>
                  <a:pt x="5648" y="223"/>
                </a:lnTo>
                <a:lnTo>
                  <a:pt x="5440" y="223"/>
                </a:lnTo>
                <a:lnTo>
                  <a:pt x="5232" y="223"/>
                </a:lnTo>
                <a:lnTo>
                  <a:pt x="5023" y="223"/>
                </a:lnTo>
                <a:lnTo>
                  <a:pt x="4814" y="223"/>
                </a:lnTo>
                <a:lnTo>
                  <a:pt x="4606" y="223"/>
                </a:lnTo>
                <a:lnTo>
                  <a:pt x="4397" y="223"/>
                </a:lnTo>
                <a:lnTo>
                  <a:pt x="4361" y="186"/>
                </a:lnTo>
                <a:lnTo>
                  <a:pt x="4322" y="153"/>
                </a:lnTo>
                <a:lnTo>
                  <a:pt x="4282" y="124"/>
                </a:lnTo>
                <a:lnTo>
                  <a:pt x="4240" y="97"/>
                </a:lnTo>
                <a:lnTo>
                  <a:pt x="4198" y="74"/>
                </a:lnTo>
                <a:lnTo>
                  <a:pt x="4155" y="54"/>
                </a:lnTo>
                <a:lnTo>
                  <a:pt x="4111" y="37"/>
                </a:lnTo>
                <a:lnTo>
                  <a:pt x="4068" y="23"/>
                </a:lnTo>
                <a:lnTo>
                  <a:pt x="4024" y="13"/>
                </a:lnTo>
                <a:lnTo>
                  <a:pt x="3979" y="5"/>
                </a:lnTo>
                <a:lnTo>
                  <a:pt x="3935" y="1"/>
                </a:lnTo>
                <a:lnTo>
                  <a:pt x="3891" y="0"/>
                </a:lnTo>
                <a:lnTo>
                  <a:pt x="3847" y="2"/>
                </a:lnTo>
                <a:lnTo>
                  <a:pt x="3804" y="6"/>
                </a:lnTo>
                <a:lnTo>
                  <a:pt x="3762" y="14"/>
                </a:lnTo>
                <a:lnTo>
                  <a:pt x="3720" y="25"/>
                </a:lnTo>
                <a:lnTo>
                  <a:pt x="3680" y="38"/>
                </a:lnTo>
                <a:lnTo>
                  <a:pt x="3642" y="54"/>
                </a:lnTo>
                <a:lnTo>
                  <a:pt x="3605" y="72"/>
                </a:lnTo>
                <a:lnTo>
                  <a:pt x="3569" y="94"/>
                </a:lnTo>
                <a:lnTo>
                  <a:pt x="3535" y="118"/>
                </a:lnTo>
                <a:lnTo>
                  <a:pt x="3504" y="145"/>
                </a:lnTo>
                <a:lnTo>
                  <a:pt x="3474" y="175"/>
                </a:lnTo>
                <a:lnTo>
                  <a:pt x="3448" y="206"/>
                </a:lnTo>
                <a:lnTo>
                  <a:pt x="3423" y="241"/>
                </a:lnTo>
                <a:lnTo>
                  <a:pt x="3401" y="278"/>
                </a:lnTo>
                <a:lnTo>
                  <a:pt x="3382" y="318"/>
                </a:lnTo>
                <a:lnTo>
                  <a:pt x="3367" y="359"/>
                </a:lnTo>
                <a:lnTo>
                  <a:pt x="3355" y="404"/>
                </a:lnTo>
                <a:lnTo>
                  <a:pt x="3346" y="450"/>
                </a:lnTo>
                <a:lnTo>
                  <a:pt x="3340" y="499"/>
                </a:lnTo>
                <a:lnTo>
                  <a:pt x="3339" y="551"/>
                </a:lnTo>
                <a:lnTo>
                  <a:pt x="3341" y="600"/>
                </a:lnTo>
                <a:lnTo>
                  <a:pt x="3348" y="647"/>
                </a:lnTo>
                <a:lnTo>
                  <a:pt x="3358" y="692"/>
                </a:lnTo>
                <a:lnTo>
                  <a:pt x="3371" y="735"/>
                </a:lnTo>
                <a:lnTo>
                  <a:pt x="3387" y="776"/>
                </a:lnTo>
                <a:lnTo>
                  <a:pt x="3407" y="814"/>
                </a:lnTo>
                <a:lnTo>
                  <a:pt x="3429" y="849"/>
                </a:lnTo>
                <a:lnTo>
                  <a:pt x="3455" y="883"/>
                </a:lnTo>
                <a:lnTo>
                  <a:pt x="3482" y="915"/>
                </a:lnTo>
                <a:lnTo>
                  <a:pt x="3512" y="943"/>
                </a:lnTo>
                <a:lnTo>
                  <a:pt x="3545" y="970"/>
                </a:lnTo>
                <a:lnTo>
                  <a:pt x="3578" y="993"/>
                </a:lnTo>
                <a:lnTo>
                  <a:pt x="3614" y="1015"/>
                </a:lnTo>
                <a:lnTo>
                  <a:pt x="3652" y="1033"/>
                </a:lnTo>
                <a:lnTo>
                  <a:pt x="3691" y="1050"/>
                </a:lnTo>
                <a:lnTo>
                  <a:pt x="3731" y="1062"/>
                </a:lnTo>
                <a:lnTo>
                  <a:pt x="3772" y="1072"/>
                </a:lnTo>
                <a:lnTo>
                  <a:pt x="3814" y="1080"/>
                </a:lnTo>
                <a:lnTo>
                  <a:pt x="3857" y="1084"/>
                </a:lnTo>
                <a:lnTo>
                  <a:pt x="3901" y="1085"/>
                </a:lnTo>
                <a:lnTo>
                  <a:pt x="3944" y="1084"/>
                </a:lnTo>
                <a:lnTo>
                  <a:pt x="3988" y="1079"/>
                </a:lnTo>
                <a:lnTo>
                  <a:pt x="4033" y="1072"/>
                </a:lnTo>
                <a:lnTo>
                  <a:pt x="4076" y="1061"/>
                </a:lnTo>
                <a:lnTo>
                  <a:pt x="4120" y="1047"/>
                </a:lnTo>
                <a:lnTo>
                  <a:pt x="4162" y="1030"/>
                </a:lnTo>
                <a:lnTo>
                  <a:pt x="4204" y="1009"/>
                </a:lnTo>
                <a:lnTo>
                  <a:pt x="4245" y="985"/>
                </a:lnTo>
                <a:lnTo>
                  <a:pt x="4285" y="958"/>
                </a:lnTo>
                <a:lnTo>
                  <a:pt x="4324" y="927"/>
                </a:lnTo>
                <a:lnTo>
                  <a:pt x="4362" y="892"/>
                </a:lnTo>
                <a:lnTo>
                  <a:pt x="4397" y="855"/>
                </a:lnTo>
                <a:lnTo>
                  <a:pt x="4477" y="855"/>
                </a:lnTo>
                <a:lnTo>
                  <a:pt x="4557" y="855"/>
                </a:lnTo>
                <a:lnTo>
                  <a:pt x="4636" y="855"/>
                </a:lnTo>
                <a:lnTo>
                  <a:pt x="4716" y="855"/>
                </a:lnTo>
                <a:lnTo>
                  <a:pt x="4795" y="855"/>
                </a:lnTo>
                <a:lnTo>
                  <a:pt x="4874" y="855"/>
                </a:lnTo>
                <a:lnTo>
                  <a:pt x="4954" y="855"/>
                </a:lnTo>
                <a:lnTo>
                  <a:pt x="5034" y="855"/>
                </a:lnTo>
                <a:lnTo>
                  <a:pt x="5113" y="855"/>
                </a:lnTo>
                <a:lnTo>
                  <a:pt x="5193" y="855"/>
                </a:lnTo>
                <a:lnTo>
                  <a:pt x="5272" y="855"/>
                </a:lnTo>
                <a:lnTo>
                  <a:pt x="5351" y="855"/>
                </a:lnTo>
                <a:lnTo>
                  <a:pt x="5431" y="855"/>
                </a:lnTo>
                <a:lnTo>
                  <a:pt x="5510" y="855"/>
                </a:lnTo>
                <a:lnTo>
                  <a:pt x="5590" y="855"/>
                </a:lnTo>
                <a:lnTo>
                  <a:pt x="5670" y="855"/>
                </a:lnTo>
                <a:lnTo>
                  <a:pt x="5670" y="915"/>
                </a:lnTo>
                <a:lnTo>
                  <a:pt x="5670" y="975"/>
                </a:lnTo>
                <a:lnTo>
                  <a:pt x="5670" y="1035"/>
                </a:lnTo>
                <a:lnTo>
                  <a:pt x="5670" y="1094"/>
                </a:lnTo>
                <a:lnTo>
                  <a:pt x="5670" y="1155"/>
                </a:lnTo>
                <a:lnTo>
                  <a:pt x="5670" y="1215"/>
                </a:lnTo>
                <a:lnTo>
                  <a:pt x="5670" y="1274"/>
                </a:lnTo>
                <a:lnTo>
                  <a:pt x="5670" y="1334"/>
                </a:lnTo>
                <a:lnTo>
                  <a:pt x="5594" y="1336"/>
                </a:lnTo>
                <a:lnTo>
                  <a:pt x="5525" y="1345"/>
                </a:lnTo>
                <a:lnTo>
                  <a:pt x="5459" y="1357"/>
                </a:lnTo>
                <a:lnTo>
                  <a:pt x="5398" y="1374"/>
                </a:lnTo>
                <a:lnTo>
                  <a:pt x="5342" y="1396"/>
                </a:lnTo>
                <a:lnTo>
                  <a:pt x="5290" y="1421"/>
                </a:lnTo>
                <a:lnTo>
                  <a:pt x="5242" y="1452"/>
                </a:lnTo>
                <a:lnTo>
                  <a:pt x="5197" y="1485"/>
                </a:lnTo>
                <a:lnTo>
                  <a:pt x="5157" y="1523"/>
                </a:lnTo>
                <a:lnTo>
                  <a:pt x="5120" y="1565"/>
                </a:lnTo>
                <a:lnTo>
                  <a:pt x="5087" y="1610"/>
                </a:lnTo>
                <a:lnTo>
                  <a:pt x="5056" y="1658"/>
                </a:lnTo>
                <a:lnTo>
                  <a:pt x="5028" y="1709"/>
                </a:lnTo>
                <a:lnTo>
                  <a:pt x="5004" y="1763"/>
                </a:lnTo>
                <a:lnTo>
                  <a:pt x="4983" y="1819"/>
                </a:lnTo>
                <a:lnTo>
                  <a:pt x="4963" y="1879"/>
                </a:lnTo>
                <a:lnTo>
                  <a:pt x="4947" y="1940"/>
                </a:lnTo>
                <a:lnTo>
                  <a:pt x="4932" y="2003"/>
                </a:lnTo>
                <a:lnTo>
                  <a:pt x="4920" y="2068"/>
                </a:lnTo>
                <a:lnTo>
                  <a:pt x="4910" y="2136"/>
                </a:lnTo>
                <a:lnTo>
                  <a:pt x="4901" y="2205"/>
                </a:lnTo>
                <a:lnTo>
                  <a:pt x="4895" y="2275"/>
                </a:lnTo>
                <a:lnTo>
                  <a:pt x="4889" y="2346"/>
                </a:lnTo>
                <a:lnTo>
                  <a:pt x="4884" y="2419"/>
                </a:lnTo>
                <a:lnTo>
                  <a:pt x="4881" y="2492"/>
                </a:lnTo>
                <a:lnTo>
                  <a:pt x="4879" y="2567"/>
                </a:lnTo>
                <a:lnTo>
                  <a:pt x="4878" y="2641"/>
                </a:lnTo>
                <a:lnTo>
                  <a:pt x="4877" y="2716"/>
                </a:lnTo>
                <a:lnTo>
                  <a:pt x="4877" y="2866"/>
                </a:lnTo>
                <a:lnTo>
                  <a:pt x="4877" y="3015"/>
                </a:lnTo>
                <a:lnTo>
                  <a:pt x="4252" y="3015"/>
                </a:lnTo>
                <a:lnTo>
                  <a:pt x="4252" y="3074"/>
                </a:lnTo>
                <a:lnTo>
                  <a:pt x="4252" y="3133"/>
                </a:lnTo>
                <a:lnTo>
                  <a:pt x="4252" y="3192"/>
                </a:lnTo>
                <a:lnTo>
                  <a:pt x="4252" y="3252"/>
                </a:lnTo>
                <a:lnTo>
                  <a:pt x="4252" y="3312"/>
                </a:lnTo>
                <a:lnTo>
                  <a:pt x="4252" y="3371"/>
                </a:lnTo>
                <a:lnTo>
                  <a:pt x="4252" y="3430"/>
                </a:lnTo>
                <a:lnTo>
                  <a:pt x="4252" y="3490"/>
                </a:lnTo>
                <a:lnTo>
                  <a:pt x="4252" y="3550"/>
                </a:lnTo>
                <a:lnTo>
                  <a:pt x="4252" y="3609"/>
                </a:lnTo>
                <a:lnTo>
                  <a:pt x="4252" y="3668"/>
                </a:lnTo>
                <a:lnTo>
                  <a:pt x="4252" y="3727"/>
                </a:lnTo>
                <a:lnTo>
                  <a:pt x="4252" y="3788"/>
                </a:lnTo>
                <a:lnTo>
                  <a:pt x="4252" y="3847"/>
                </a:lnTo>
                <a:lnTo>
                  <a:pt x="4252" y="3906"/>
                </a:lnTo>
                <a:lnTo>
                  <a:pt x="4252" y="3965"/>
                </a:lnTo>
                <a:lnTo>
                  <a:pt x="4331" y="3965"/>
                </a:lnTo>
                <a:lnTo>
                  <a:pt x="4410" y="3965"/>
                </a:lnTo>
                <a:lnTo>
                  <a:pt x="4489" y="3965"/>
                </a:lnTo>
                <a:lnTo>
                  <a:pt x="4568" y="3965"/>
                </a:lnTo>
                <a:lnTo>
                  <a:pt x="4647" y="3965"/>
                </a:lnTo>
                <a:lnTo>
                  <a:pt x="4726" y="3965"/>
                </a:lnTo>
                <a:lnTo>
                  <a:pt x="4805" y="3965"/>
                </a:lnTo>
                <a:lnTo>
                  <a:pt x="4884" y="3965"/>
                </a:lnTo>
                <a:lnTo>
                  <a:pt x="4836" y="3989"/>
                </a:lnTo>
                <a:lnTo>
                  <a:pt x="4791" y="4013"/>
                </a:lnTo>
                <a:lnTo>
                  <a:pt x="4747" y="4038"/>
                </a:lnTo>
                <a:lnTo>
                  <a:pt x="4705" y="4062"/>
                </a:lnTo>
                <a:lnTo>
                  <a:pt x="4664" y="4088"/>
                </a:lnTo>
                <a:lnTo>
                  <a:pt x="4625" y="4114"/>
                </a:lnTo>
                <a:lnTo>
                  <a:pt x="4586" y="4142"/>
                </a:lnTo>
                <a:lnTo>
                  <a:pt x="4550" y="4171"/>
                </a:lnTo>
                <a:lnTo>
                  <a:pt x="4512" y="4199"/>
                </a:lnTo>
                <a:lnTo>
                  <a:pt x="4476" y="4230"/>
                </a:lnTo>
                <a:lnTo>
                  <a:pt x="4439" y="4260"/>
                </a:lnTo>
                <a:lnTo>
                  <a:pt x="4402" y="4293"/>
                </a:lnTo>
                <a:lnTo>
                  <a:pt x="4366" y="4327"/>
                </a:lnTo>
                <a:lnTo>
                  <a:pt x="4329" y="4362"/>
                </a:lnTo>
                <a:lnTo>
                  <a:pt x="4291" y="4399"/>
                </a:lnTo>
                <a:lnTo>
                  <a:pt x="4252" y="4438"/>
                </a:lnTo>
                <a:lnTo>
                  <a:pt x="4247" y="4441"/>
                </a:lnTo>
                <a:lnTo>
                  <a:pt x="4239" y="4443"/>
                </a:lnTo>
                <a:lnTo>
                  <a:pt x="4227" y="4445"/>
                </a:lnTo>
                <a:lnTo>
                  <a:pt x="4213" y="4447"/>
                </a:lnTo>
                <a:lnTo>
                  <a:pt x="4174" y="4449"/>
                </a:lnTo>
                <a:lnTo>
                  <a:pt x="4126" y="4450"/>
                </a:lnTo>
                <a:lnTo>
                  <a:pt x="4070" y="4451"/>
                </a:lnTo>
                <a:lnTo>
                  <a:pt x="4007" y="4451"/>
                </a:lnTo>
                <a:lnTo>
                  <a:pt x="3940" y="4450"/>
                </a:lnTo>
                <a:lnTo>
                  <a:pt x="3871" y="4449"/>
                </a:lnTo>
                <a:lnTo>
                  <a:pt x="3801" y="4447"/>
                </a:lnTo>
                <a:lnTo>
                  <a:pt x="3733" y="4446"/>
                </a:lnTo>
                <a:lnTo>
                  <a:pt x="3667" y="4444"/>
                </a:lnTo>
                <a:lnTo>
                  <a:pt x="3607" y="4442"/>
                </a:lnTo>
                <a:lnTo>
                  <a:pt x="3553" y="4440"/>
                </a:lnTo>
                <a:lnTo>
                  <a:pt x="3508" y="4439"/>
                </a:lnTo>
                <a:lnTo>
                  <a:pt x="3474" y="4438"/>
                </a:lnTo>
                <a:lnTo>
                  <a:pt x="3452" y="4438"/>
                </a:lnTo>
                <a:lnTo>
                  <a:pt x="3194" y="4448"/>
                </a:lnTo>
                <a:lnTo>
                  <a:pt x="2954" y="4474"/>
                </a:lnTo>
                <a:lnTo>
                  <a:pt x="2732" y="4515"/>
                </a:lnTo>
                <a:lnTo>
                  <a:pt x="2525" y="4571"/>
                </a:lnTo>
                <a:lnTo>
                  <a:pt x="2336" y="4640"/>
                </a:lnTo>
                <a:lnTo>
                  <a:pt x="2161" y="4723"/>
                </a:lnTo>
                <a:lnTo>
                  <a:pt x="2001" y="4819"/>
                </a:lnTo>
                <a:lnTo>
                  <a:pt x="1855" y="4926"/>
                </a:lnTo>
                <a:lnTo>
                  <a:pt x="1722" y="5044"/>
                </a:lnTo>
                <a:lnTo>
                  <a:pt x="1602" y="5173"/>
                </a:lnTo>
                <a:lnTo>
                  <a:pt x="1495" y="5312"/>
                </a:lnTo>
                <a:lnTo>
                  <a:pt x="1398" y="5460"/>
                </a:lnTo>
                <a:lnTo>
                  <a:pt x="1313" y="5616"/>
                </a:lnTo>
                <a:lnTo>
                  <a:pt x="1238" y="5781"/>
                </a:lnTo>
                <a:lnTo>
                  <a:pt x="1173" y="5952"/>
                </a:lnTo>
                <a:lnTo>
                  <a:pt x="1116" y="6129"/>
                </a:lnTo>
                <a:lnTo>
                  <a:pt x="1068" y="6312"/>
                </a:lnTo>
                <a:lnTo>
                  <a:pt x="1028" y="6500"/>
                </a:lnTo>
                <a:lnTo>
                  <a:pt x="995" y="6693"/>
                </a:lnTo>
                <a:lnTo>
                  <a:pt x="968" y="6890"/>
                </a:lnTo>
                <a:lnTo>
                  <a:pt x="947" y="7089"/>
                </a:lnTo>
                <a:lnTo>
                  <a:pt x="930" y="7291"/>
                </a:lnTo>
                <a:lnTo>
                  <a:pt x="919" y="7494"/>
                </a:lnTo>
                <a:lnTo>
                  <a:pt x="912" y="7698"/>
                </a:lnTo>
                <a:lnTo>
                  <a:pt x="908" y="7903"/>
                </a:lnTo>
                <a:lnTo>
                  <a:pt x="906" y="8106"/>
                </a:lnTo>
                <a:lnTo>
                  <a:pt x="906" y="8309"/>
                </a:lnTo>
                <a:lnTo>
                  <a:pt x="908" y="8511"/>
                </a:lnTo>
                <a:lnTo>
                  <a:pt x="913" y="8904"/>
                </a:lnTo>
                <a:lnTo>
                  <a:pt x="916" y="9282"/>
                </a:lnTo>
                <a:lnTo>
                  <a:pt x="815" y="9281"/>
                </a:lnTo>
                <a:lnTo>
                  <a:pt x="728" y="9281"/>
                </a:lnTo>
                <a:lnTo>
                  <a:pt x="689" y="9282"/>
                </a:lnTo>
                <a:lnTo>
                  <a:pt x="653" y="9284"/>
                </a:lnTo>
                <a:lnTo>
                  <a:pt x="619" y="9287"/>
                </a:lnTo>
                <a:lnTo>
                  <a:pt x="588" y="9291"/>
                </a:lnTo>
                <a:lnTo>
                  <a:pt x="561" y="9296"/>
                </a:lnTo>
                <a:lnTo>
                  <a:pt x="535" y="9302"/>
                </a:lnTo>
                <a:lnTo>
                  <a:pt x="512" y="9309"/>
                </a:lnTo>
                <a:lnTo>
                  <a:pt x="490" y="9318"/>
                </a:lnTo>
                <a:lnTo>
                  <a:pt x="472" y="9328"/>
                </a:lnTo>
                <a:lnTo>
                  <a:pt x="454" y="9341"/>
                </a:lnTo>
                <a:lnTo>
                  <a:pt x="440" y="9355"/>
                </a:lnTo>
                <a:lnTo>
                  <a:pt x="427" y="9370"/>
                </a:lnTo>
                <a:lnTo>
                  <a:pt x="416" y="9389"/>
                </a:lnTo>
                <a:lnTo>
                  <a:pt x="405" y="9409"/>
                </a:lnTo>
                <a:lnTo>
                  <a:pt x="396" y="9431"/>
                </a:lnTo>
                <a:lnTo>
                  <a:pt x="389" y="9456"/>
                </a:lnTo>
                <a:lnTo>
                  <a:pt x="384" y="9483"/>
                </a:lnTo>
                <a:lnTo>
                  <a:pt x="379" y="9514"/>
                </a:lnTo>
                <a:lnTo>
                  <a:pt x="375" y="9547"/>
                </a:lnTo>
                <a:lnTo>
                  <a:pt x="372" y="9583"/>
                </a:lnTo>
                <a:lnTo>
                  <a:pt x="370" y="9622"/>
                </a:lnTo>
                <a:lnTo>
                  <a:pt x="369" y="9664"/>
                </a:lnTo>
                <a:lnTo>
                  <a:pt x="368" y="9709"/>
                </a:lnTo>
                <a:lnTo>
                  <a:pt x="367" y="9758"/>
                </a:lnTo>
                <a:lnTo>
                  <a:pt x="367" y="9866"/>
                </a:lnTo>
                <a:lnTo>
                  <a:pt x="367" y="9990"/>
                </a:lnTo>
                <a:lnTo>
                  <a:pt x="395" y="10010"/>
                </a:lnTo>
                <a:lnTo>
                  <a:pt x="438" y="10030"/>
                </a:lnTo>
                <a:lnTo>
                  <a:pt x="495" y="10048"/>
                </a:lnTo>
                <a:lnTo>
                  <a:pt x="564" y="10064"/>
                </a:lnTo>
                <a:lnTo>
                  <a:pt x="644" y="10080"/>
                </a:lnTo>
                <a:lnTo>
                  <a:pt x="735" y="10094"/>
                </a:lnTo>
                <a:lnTo>
                  <a:pt x="836" y="10107"/>
                </a:lnTo>
                <a:lnTo>
                  <a:pt x="946" y="10119"/>
                </a:lnTo>
                <a:lnTo>
                  <a:pt x="1062" y="10130"/>
                </a:lnTo>
                <a:lnTo>
                  <a:pt x="1187" y="10138"/>
                </a:lnTo>
                <a:lnTo>
                  <a:pt x="1315" y="10146"/>
                </a:lnTo>
                <a:lnTo>
                  <a:pt x="1450" y="10152"/>
                </a:lnTo>
                <a:lnTo>
                  <a:pt x="1589" y="10157"/>
                </a:lnTo>
                <a:lnTo>
                  <a:pt x="1730" y="10161"/>
                </a:lnTo>
                <a:lnTo>
                  <a:pt x="1873" y="10163"/>
                </a:lnTo>
                <a:lnTo>
                  <a:pt x="2018" y="10164"/>
                </a:lnTo>
                <a:lnTo>
                  <a:pt x="2162" y="10164"/>
                </a:lnTo>
                <a:lnTo>
                  <a:pt x="2306" y="10162"/>
                </a:lnTo>
                <a:lnTo>
                  <a:pt x="2447" y="10159"/>
                </a:lnTo>
                <a:lnTo>
                  <a:pt x="2587" y="10155"/>
                </a:lnTo>
                <a:lnTo>
                  <a:pt x="2722" y="10149"/>
                </a:lnTo>
                <a:lnTo>
                  <a:pt x="2852" y="10142"/>
                </a:lnTo>
                <a:lnTo>
                  <a:pt x="2978" y="10133"/>
                </a:lnTo>
                <a:lnTo>
                  <a:pt x="3096" y="10123"/>
                </a:lnTo>
                <a:lnTo>
                  <a:pt x="3208" y="10111"/>
                </a:lnTo>
                <a:lnTo>
                  <a:pt x="3310" y="10098"/>
                </a:lnTo>
                <a:lnTo>
                  <a:pt x="3404" y="10084"/>
                </a:lnTo>
                <a:lnTo>
                  <a:pt x="3486" y="10067"/>
                </a:lnTo>
                <a:lnTo>
                  <a:pt x="3558" y="10050"/>
                </a:lnTo>
                <a:lnTo>
                  <a:pt x="3617" y="10032"/>
                </a:lnTo>
                <a:lnTo>
                  <a:pt x="3664" y="10011"/>
                </a:lnTo>
                <a:lnTo>
                  <a:pt x="3696" y="9990"/>
                </a:lnTo>
                <a:close/>
                <a:moveTo>
                  <a:pt x="2015" y="10256"/>
                </a:moveTo>
                <a:lnTo>
                  <a:pt x="1994" y="10366"/>
                </a:lnTo>
                <a:lnTo>
                  <a:pt x="1972" y="10473"/>
                </a:lnTo>
                <a:lnTo>
                  <a:pt x="1946" y="10579"/>
                </a:lnTo>
                <a:lnTo>
                  <a:pt x="1919" y="10683"/>
                </a:lnTo>
                <a:lnTo>
                  <a:pt x="1889" y="10786"/>
                </a:lnTo>
                <a:lnTo>
                  <a:pt x="1857" y="10888"/>
                </a:lnTo>
                <a:lnTo>
                  <a:pt x="1823" y="10988"/>
                </a:lnTo>
                <a:lnTo>
                  <a:pt x="1787" y="11086"/>
                </a:lnTo>
                <a:lnTo>
                  <a:pt x="1750" y="11183"/>
                </a:lnTo>
                <a:lnTo>
                  <a:pt x="1712" y="11279"/>
                </a:lnTo>
                <a:lnTo>
                  <a:pt x="1672" y="11373"/>
                </a:lnTo>
                <a:lnTo>
                  <a:pt x="1630" y="11466"/>
                </a:lnTo>
                <a:lnTo>
                  <a:pt x="1587" y="11557"/>
                </a:lnTo>
                <a:lnTo>
                  <a:pt x="1543" y="11647"/>
                </a:lnTo>
                <a:lnTo>
                  <a:pt x="1498" y="11735"/>
                </a:lnTo>
                <a:lnTo>
                  <a:pt x="1452" y="11820"/>
                </a:lnTo>
                <a:lnTo>
                  <a:pt x="1406" y="11905"/>
                </a:lnTo>
                <a:lnTo>
                  <a:pt x="1359" y="11988"/>
                </a:lnTo>
                <a:lnTo>
                  <a:pt x="1311" y="12070"/>
                </a:lnTo>
                <a:lnTo>
                  <a:pt x="1263" y="12149"/>
                </a:lnTo>
                <a:lnTo>
                  <a:pt x="1215" y="12228"/>
                </a:lnTo>
                <a:lnTo>
                  <a:pt x="1167" y="12304"/>
                </a:lnTo>
                <a:lnTo>
                  <a:pt x="1118" y="12379"/>
                </a:lnTo>
                <a:lnTo>
                  <a:pt x="1070" y="12452"/>
                </a:lnTo>
                <a:lnTo>
                  <a:pt x="1022" y="12524"/>
                </a:lnTo>
                <a:lnTo>
                  <a:pt x="974" y="12594"/>
                </a:lnTo>
                <a:lnTo>
                  <a:pt x="926" y="12662"/>
                </a:lnTo>
                <a:lnTo>
                  <a:pt x="879" y="12728"/>
                </a:lnTo>
                <a:lnTo>
                  <a:pt x="788" y="12857"/>
                </a:lnTo>
                <a:lnTo>
                  <a:pt x="701" y="12977"/>
                </a:lnTo>
                <a:lnTo>
                  <a:pt x="432" y="13379"/>
                </a:lnTo>
                <a:lnTo>
                  <a:pt x="233" y="13757"/>
                </a:lnTo>
                <a:lnTo>
                  <a:pt x="97" y="14109"/>
                </a:lnTo>
                <a:lnTo>
                  <a:pt x="21" y="14436"/>
                </a:lnTo>
                <a:lnTo>
                  <a:pt x="0" y="14737"/>
                </a:lnTo>
                <a:lnTo>
                  <a:pt x="30" y="15013"/>
                </a:lnTo>
                <a:lnTo>
                  <a:pt x="104" y="15263"/>
                </a:lnTo>
                <a:lnTo>
                  <a:pt x="220" y="15487"/>
                </a:lnTo>
                <a:lnTo>
                  <a:pt x="371" y="15685"/>
                </a:lnTo>
                <a:lnTo>
                  <a:pt x="555" y="15856"/>
                </a:lnTo>
                <a:lnTo>
                  <a:pt x="765" y="16002"/>
                </a:lnTo>
                <a:lnTo>
                  <a:pt x="998" y="16122"/>
                </a:lnTo>
                <a:lnTo>
                  <a:pt x="1248" y="16215"/>
                </a:lnTo>
                <a:lnTo>
                  <a:pt x="1511" y="16281"/>
                </a:lnTo>
                <a:lnTo>
                  <a:pt x="1783" y="16322"/>
                </a:lnTo>
                <a:lnTo>
                  <a:pt x="2059" y="16335"/>
                </a:lnTo>
                <a:lnTo>
                  <a:pt x="2335" y="16321"/>
                </a:lnTo>
                <a:lnTo>
                  <a:pt x="2604" y="16281"/>
                </a:lnTo>
                <a:lnTo>
                  <a:pt x="2862" y="16214"/>
                </a:lnTo>
                <a:lnTo>
                  <a:pt x="3108" y="16119"/>
                </a:lnTo>
                <a:lnTo>
                  <a:pt x="3332" y="15997"/>
                </a:lnTo>
                <a:lnTo>
                  <a:pt x="3533" y="15848"/>
                </a:lnTo>
                <a:lnTo>
                  <a:pt x="3706" y="15671"/>
                </a:lnTo>
                <a:lnTo>
                  <a:pt x="3845" y="15468"/>
                </a:lnTo>
                <a:lnTo>
                  <a:pt x="3946" y="15236"/>
                </a:lnTo>
                <a:lnTo>
                  <a:pt x="4005" y="14977"/>
                </a:lnTo>
                <a:lnTo>
                  <a:pt x="4016" y="14689"/>
                </a:lnTo>
                <a:lnTo>
                  <a:pt x="3976" y="14374"/>
                </a:lnTo>
                <a:lnTo>
                  <a:pt x="3879" y="14031"/>
                </a:lnTo>
                <a:lnTo>
                  <a:pt x="3720" y="13659"/>
                </a:lnTo>
                <a:lnTo>
                  <a:pt x="3497" y="13260"/>
                </a:lnTo>
                <a:lnTo>
                  <a:pt x="3203" y="12832"/>
                </a:lnTo>
                <a:lnTo>
                  <a:pt x="3161" y="12776"/>
                </a:lnTo>
                <a:lnTo>
                  <a:pt x="3119" y="12719"/>
                </a:lnTo>
                <a:lnTo>
                  <a:pt x="3077" y="12660"/>
                </a:lnTo>
                <a:lnTo>
                  <a:pt x="3033" y="12597"/>
                </a:lnTo>
                <a:lnTo>
                  <a:pt x="2990" y="12534"/>
                </a:lnTo>
                <a:lnTo>
                  <a:pt x="2946" y="12470"/>
                </a:lnTo>
                <a:lnTo>
                  <a:pt x="2902" y="12402"/>
                </a:lnTo>
                <a:lnTo>
                  <a:pt x="2858" y="12334"/>
                </a:lnTo>
                <a:lnTo>
                  <a:pt x="2813" y="12264"/>
                </a:lnTo>
                <a:lnTo>
                  <a:pt x="2770" y="12191"/>
                </a:lnTo>
                <a:lnTo>
                  <a:pt x="2726" y="12118"/>
                </a:lnTo>
                <a:lnTo>
                  <a:pt x="2682" y="12042"/>
                </a:lnTo>
                <a:lnTo>
                  <a:pt x="2639" y="11965"/>
                </a:lnTo>
                <a:lnTo>
                  <a:pt x="2595" y="11887"/>
                </a:lnTo>
                <a:lnTo>
                  <a:pt x="2553" y="11807"/>
                </a:lnTo>
                <a:lnTo>
                  <a:pt x="2511" y="11725"/>
                </a:lnTo>
                <a:lnTo>
                  <a:pt x="2470" y="11643"/>
                </a:lnTo>
                <a:lnTo>
                  <a:pt x="2430" y="11558"/>
                </a:lnTo>
                <a:lnTo>
                  <a:pt x="2392" y="11473"/>
                </a:lnTo>
                <a:lnTo>
                  <a:pt x="2353" y="11385"/>
                </a:lnTo>
                <a:lnTo>
                  <a:pt x="2316" y="11298"/>
                </a:lnTo>
                <a:lnTo>
                  <a:pt x="2280" y="11209"/>
                </a:lnTo>
                <a:lnTo>
                  <a:pt x="2247" y="11118"/>
                </a:lnTo>
                <a:lnTo>
                  <a:pt x="2214" y="11026"/>
                </a:lnTo>
                <a:lnTo>
                  <a:pt x="2182" y="10933"/>
                </a:lnTo>
                <a:lnTo>
                  <a:pt x="2153" y="10839"/>
                </a:lnTo>
                <a:lnTo>
                  <a:pt x="2125" y="10744"/>
                </a:lnTo>
                <a:lnTo>
                  <a:pt x="2099" y="10649"/>
                </a:lnTo>
                <a:lnTo>
                  <a:pt x="2075" y="10552"/>
                </a:lnTo>
                <a:lnTo>
                  <a:pt x="2053" y="10454"/>
                </a:lnTo>
                <a:lnTo>
                  <a:pt x="2033" y="10356"/>
                </a:lnTo>
                <a:lnTo>
                  <a:pt x="2015" y="1025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0" name="Group 89">
            <a:extLst>
              <a:ext uri="{FF2B5EF4-FFF2-40B4-BE49-F238E27FC236}">
                <a16:creationId xmlns:a16="http://schemas.microsoft.com/office/drawing/2014/main" id="{A8876838-1FDB-458D-884B-380BD094777C}"/>
              </a:ext>
            </a:extLst>
          </p:cNvPr>
          <p:cNvGrpSpPr/>
          <p:nvPr/>
        </p:nvGrpSpPr>
        <p:grpSpPr>
          <a:xfrm>
            <a:off x="2885646" y="4332868"/>
            <a:ext cx="586518" cy="733901"/>
            <a:chOff x="9337675" y="5408613"/>
            <a:chExt cx="925513" cy="966788"/>
          </a:xfrm>
          <a:solidFill>
            <a:srgbClr val="1E49E2"/>
          </a:solidFill>
        </p:grpSpPr>
        <p:sp>
          <p:nvSpPr>
            <p:cNvPr id="91" name="Freeform 826">
              <a:extLst>
                <a:ext uri="{FF2B5EF4-FFF2-40B4-BE49-F238E27FC236}">
                  <a16:creationId xmlns:a16="http://schemas.microsoft.com/office/drawing/2014/main" id="{3AE60556-5374-4269-895E-41F6E28936D2}"/>
                </a:ext>
              </a:extLst>
            </p:cNvPr>
            <p:cNvSpPr>
              <a:spLocks noEditPoints="1"/>
            </p:cNvSpPr>
            <p:nvPr/>
          </p:nvSpPr>
          <p:spPr bwMode="auto">
            <a:xfrm>
              <a:off x="9996488" y="5473701"/>
              <a:ext cx="266700" cy="901700"/>
            </a:xfrm>
            <a:custGeom>
              <a:avLst/>
              <a:gdLst>
                <a:gd name="T0" fmla="*/ 120 w 671"/>
                <a:gd name="T1" fmla="*/ 1782 h 2271"/>
                <a:gd name="T2" fmla="*/ 47 w 671"/>
                <a:gd name="T3" fmla="*/ 1725 h 2271"/>
                <a:gd name="T4" fmla="*/ 8 w 671"/>
                <a:gd name="T5" fmla="*/ 1640 h 2271"/>
                <a:gd name="T6" fmla="*/ 1 w 671"/>
                <a:gd name="T7" fmla="*/ 1508 h 2271"/>
                <a:gd name="T8" fmla="*/ 160 w 671"/>
                <a:gd name="T9" fmla="*/ 1521 h 2271"/>
                <a:gd name="T10" fmla="*/ 244 w 671"/>
                <a:gd name="T11" fmla="*/ 1574 h 2271"/>
                <a:gd name="T12" fmla="*/ 285 w 671"/>
                <a:gd name="T13" fmla="*/ 1657 h 2271"/>
                <a:gd name="T14" fmla="*/ 294 w 671"/>
                <a:gd name="T15" fmla="*/ 1801 h 2271"/>
                <a:gd name="T16" fmla="*/ 141 w 671"/>
                <a:gd name="T17" fmla="*/ 1448 h 2271"/>
                <a:gd name="T18" fmla="*/ 69 w 671"/>
                <a:gd name="T19" fmla="*/ 1397 h 2271"/>
                <a:gd name="T20" fmla="*/ 28 w 671"/>
                <a:gd name="T21" fmla="*/ 1323 h 2271"/>
                <a:gd name="T22" fmla="*/ 18 w 671"/>
                <a:gd name="T23" fmla="*/ 1210 h 2271"/>
                <a:gd name="T24" fmla="*/ 151 w 671"/>
                <a:gd name="T25" fmla="*/ 1195 h 2271"/>
                <a:gd name="T26" fmla="*/ 234 w 671"/>
                <a:gd name="T27" fmla="*/ 1241 h 2271"/>
                <a:gd name="T28" fmla="*/ 278 w 671"/>
                <a:gd name="T29" fmla="*/ 1313 h 2271"/>
                <a:gd name="T30" fmla="*/ 290 w 671"/>
                <a:gd name="T31" fmla="*/ 1420 h 2271"/>
                <a:gd name="T32" fmla="*/ 383 w 671"/>
                <a:gd name="T33" fmla="*/ 1355 h 2271"/>
                <a:gd name="T34" fmla="*/ 413 w 671"/>
                <a:gd name="T35" fmla="*/ 1269 h 2271"/>
                <a:gd name="T36" fmla="*/ 471 w 671"/>
                <a:gd name="T37" fmla="*/ 1211 h 2271"/>
                <a:gd name="T38" fmla="*/ 573 w 671"/>
                <a:gd name="T39" fmla="*/ 1173 h 2271"/>
                <a:gd name="T40" fmla="*/ 635 w 671"/>
                <a:gd name="T41" fmla="*/ 1279 h 2271"/>
                <a:gd name="T42" fmla="*/ 613 w 671"/>
                <a:gd name="T43" fmla="*/ 1377 h 2271"/>
                <a:gd name="T44" fmla="*/ 557 w 671"/>
                <a:gd name="T45" fmla="*/ 1440 h 2271"/>
                <a:gd name="T46" fmla="*/ 461 w 671"/>
                <a:gd name="T47" fmla="*/ 1476 h 2271"/>
                <a:gd name="T48" fmla="*/ 194 w 671"/>
                <a:gd name="T49" fmla="*/ 1137 h 2271"/>
                <a:gd name="T50" fmla="*/ 89 w 671"/>
                <a:gd name="T51" fmla="*/ 1074 h 2271"/>
                <a:gd name="T52" fmla="*/ 50 w 671"/>
                <a:gd name="T53" fmla="*/ 1005 h 2271"/>
                <a:gd name="T54" fmla="*/ 42 w 671"/>
                <a:gd name="T55" fmla="*/ 860 h 2271"/>
                <a:gd name="T56" fmla="*/ 191 w 671"/>
                <a:gd name="T57" fmla="*/ 895 h 2271"/>
                <a:gd name="T58" fmla="*/ 257 w 671"/>
                <a:gd name="T59" fmla="*/ 945 h 2271"/>
                <a:gd name="T60" fmla="*/ 288 w 671"/>
                <a:gd name="T61" fmla="*/ 1020 h 2271"/>
                <a:gd name="T62" fmla="*/ 290 w 671"/>
                <a:gd name="T63" fmla="*/ 1170 h 2271"/>
                <a:gd name="T64" fmla="*/ 394 w 671"/>
                <a:gd name="T65" fmla="*/ 986 h 2271"/>
                <a:gd name="T66" fmla="*/ 435 w 671"/>
                <a:gd name="T67" fmla="*/ 921 h 2271"/>
                <a:gd name="T68" fmla="*/ 510 w 671"/>
                <a:gd name="T69" fmla="*/ 878 h 2271"/>
                <a:gd name="T70" fmla="*/ 617 w 671"/>
                <a:gd name="T71" fmla="*/ 948 h 2271"/>
                <a:gd name="T72" fmla="*/ 599 w 671"/>
                <a:gd name="T73" fmla="*/ 1044 h 2271"/>
                <a:gd name="T74" fmla="*/ 552 w 671"/>
                <a:gd name="T75" fmla="*/ 1106 h 2271"/>
                <a:gd name="T76" fmla="*/ 468 w 671"/>
                <a:gd name="T77" fmla="*/ 1144 h 2271"/>
                <a:gd name="T78" fmla="*/ 282 w 671"/>
                <a:gd name="T79" fmla="*/ 888 h 2271"/>
                <a:gd name="T80" fmla="*/ 219 w 671"/>
                <a:gd name="T81" fmla="*/ 765 h 2271"/>
                <a:gd name="T82" fmla="*/ 213 w 671"/>
                <a:gd name="T83" fmla="*/ 679 h 2271"/>
                <a:gd name="T84" fmla="*/ 256 w 671"/>
                <a:gd name="T85" fmla="*/ 588 h 2271"/>
                <a:gd name="T86" fmla="*/ 379 w 671"/>
                <a:gd name="T87" fmla="*/ 577 h 2271"/>
                <a:gd name="T88" fmla="*/ 442 w 671"/>
                <a:gd name="T89" fmla="*/ 675 h 2271"/>
                <a:gd name="T90" fmla="*/ 453 w 671"/>
                <a:gd name="T91" fmla="*/ 764 h 2271"/>
                <a:gd name="T92" fmla="*/ 414 w 671"/>
                <a:gd name="T93" fmla="*/ 853 h 2271"/>
                <a:gd name="T94" fmla="*/ 362 w 671"/>
                <a:gd name="T95" fmla="*/ 1928 h 2271"/>
                <a:gd name="T96" fmla="*/ 47 w 671"/>
                <a:gd name="T97" fmla="*/ 775 h 2271"/>
                <a:gd name="T98" fmla="*/ 414 w 671"/>
                <a:gd name="T99" fmla="*/ 201 h 2271"/>
                <a:gd name="T100" fmla="*/ 248 w 671"/>
                <a:gd name="T101" fmla="*/ 443 h 2271"/>
                <a:gd name="T102" fmla="*/ 395 w 671"/>
                <a:gd name="T103" fmla="*/ 1689 h 2271"/>
                <a:gd name="T104" fmla="*/ 427 w 671"/>
                <a:gd name="T105" fmla="*/ 1596 h 2271"/>
                <a:gd name="T106" fmla="*/ 491 w 671"/>
                <a:gd name="T107" fmla="*/ 1532 h 2271"/>
                <a:gd name="T108" fmla="*/ 602 w 671"/>
                <a:gd name="T109" fmla="*/ 1491 h 2271"/>
                <a:gd name="T110" fmla="*/ 670 w 671"/>
                <a:gd name="T111" fmla="*/ 1608 h 2271"/>
                <a:gd name="T112" fmla="*/ 644 w 671"/>
                <a:gd name="T113" fmla="*/ 1712 h 2271"/>
                <a:gd name="T114" fmla="*/ 583 w 671"/>
                <a:gd name="T115" fmla="*/ 1780 h 2271"/>
                <a:gd name="T116" fmla="*/ 480 w 671"/>
                <a:gd name="T117" fmla="*/ 1821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2271">
                  <a:moveTo>
                    <a:pt x="290" y="1847"/>
                  </a:moveTo>
                  <a:lnTo>
                    <a:pt x="250" y="1834"/>
                  </a:lnTo>
                  <a:lnTo>
                    <a:pt x="213" y="1821"/>
                  </a:lnTo>
                  <a:lnTo>
                    <a:pt x="179" y="1808"/>
                  </a:lnTo>
                  <a:lnTo>
                    <a:pt x="149" y="1795"/>
                  </a:lnTo>
                  <a:lnTo>
                    <a:pt x="134" y="1789"/>
                  </a:lnTo>
                  <a:lnTo>
                    <a:pt x="120" y="1782"/>
                  </a:lnTo>
                  <a:lnTo>
                    <a:pt x="108" y="1775"/>
                  </a:lnTo>
                  <a:lnTo>
                    <a:pt x="96" y="1768"/>
                  </a:lnTo>
                  <a:lnTo>
                    <a:pt x="85" y="1760"/>
                  </a:lnTo>
                  <a:lnTo>
                    <a:pt x="75" y="1752"/>
                  </a:lnTo>
                  <a:lnTo>
                    <a:pt x="64" y="1744"/>
                  </a:lnTo>
                  <a:lnTo>
                    <a:pt x="55" y="1735"/>
                  </a:lnTo>
                  <a:lnTo>
                    <a:pt x="47" y="1725"/>
                  </a:lnTo>
                  <a:lnTo>
                    <a:pt x="39" y="1715"/>
                  </a:lnTo>
                  <a:lnTo>
                    <a:pt x="32" y="1704"/>
                  </a:lnTo>
                  <a:lnTo>
                    <a:pt x="26" y="1693"/>
                  </a:lnTo>
                  <a:lnTo>
                    <a:pt x="21" y="1681"/>
                  </a:lnTo>
                  <a:lnTo>
                    <a:pt x="16" y="1669"/>
                  </a:lnTo>
                  <a:lnTo>
                    <a:pt x="12" y="1654"/>
                  </a:lnTo>
                  <a:lnTo>
                    <a:pt x="8" y="1640"/>
                  </a:lnTo>
                  <a:lnTo>
                    <a:pt x="5" y="1624"/>
                  </a:lnTo>
                  <a:lnTo>
                    <a:pt x="3" y="1608"/>
                  </a:lnTo>
                  <a:lnTo>
                    <a:pt x="1" y="1591"/>
                  </a:lnTo>
                  <a:lnTo>
                    <a:pt x="0" y="1571"/>
                  </a:lnTo>
                  <a:lnTo>
                    <a:pt x="0" y="1552"/>
                  </a:lnTo>
                  <a:lnTo>
                    <a:pt x="0" y="1531"/>
                  </a:lnTo>
                  <a:lnTo>
                    <a:pt x="1" y="1508"/>
                  </a:lnTo>
                  <a:lnTo>
                    <a:pt x="2" y="1485"/>
                  </a:lnTo>
                  <a:lnTo>
                    <a:pt x="48" y="1492"/>
                  </a:lnTo>
                  <a:lnTo>
                    <a:pt x="90" y="1500"/>
                  </a:lnTo>
                  <a:lnTo>
                    <a:pt x="109" y="1505"/>
                  </a:lnTo>
                  <a:lnTo>
                    <a:pt x="127" y="1511"/>
                  </a:lnTo>
                  <a:lnTo>
                    <a:pt x="143" y="1516"/>
                  </a:lnTo>
                  <a:lnTo>
                    <a:pt x="160" y="1521"/>
                  </a:lnTo>
                  <a:lnTo>
                    <a:pt x="175" y="1527"/>
                  </a:lnTo>
                  <a:lnTo>
                    <a:pt x="188" y="1534"/>
                  </a:lnTo>
                  <a:lnTo>
                    <a:pt x="201" y="1541"/>
                  </a:lnTo>
                  <a:lnTo>
                    <a:pt x="213" y="1548"/>
                  </a:lnTo>
                  <a:lnTo>
                    <a:pt x="225" y="1556"/>
                  </a:lnTo>
                  <a:lnTo>
                    <a:pt x="235" y="1565"/>
                  </a:lnTo>
                  <a:lnTo>
                    <a:pt x="244" y="1574"/>
                  </a:lnTo>
                  <a:lnTo>
                    <a:pt x="252" y="1585"/>
                  </a:lnTo>
                  <a:lnTo>
                    <a:pt x="259" y="1595"/>
                  </a:lnTo>
                  <a:lnTo>
                    <a:pt x="266" y="1606"/>
                  </a:lnTo>
                  <a:lnTo>
                    <a:pt x="272" y="1618"/>
                  </a:lnTo>
                  <a:lnTo>
                    <a:pt x="277" y="1630"/>
                  </a:lnTo>
                  <a:lnTo>
                    <a:pt x="281" y="1643"/>
                  </a:lnTo>
                  <a:lnTo>
                    <a:pt x="285" y="1657"/>
                  </a:lnTo>
                  <a:lnTo>
                    <a:pt x="288" y="1673"/>
                  </a:lnTo>
                  <a:lnTo>
                    <a:pt x="292" y="1688"/>
                  </a:lnTo>
                  <a:lnTo>
                    <a:pt x="294" y="1705"/>
                  </a:lnTo>
                  <a:lnTo>
                    <a:pt x="295" y="1722"/>
                  </a:lnTo>
                  <a:lnTo>
                    <a:pt x="295" y="1741"/>
                  </a:lnTo>
                  <a:lnTo>
                    <a:pt x="295" y="1760"/>
                  </a:lnTo>
                  <a:lnTo>
                    <a:pt x="294" y="1801"/>
                  </a:lnTo>
                  <a:lnTo>
                    <a:pt x="290" y="1847"/>
                  </a:lnTo>
                  <a:close/>
                  <a:moveTo>
                    <a:pt x="286" y="1500"/>
                  </a:moveTo>
                  <a:lnTo>
                    <a:pt x="249" y="1488"/>
                  </a:lnTo>
                  <a:lnTo>
                    <a:pt x="214" y="1477"/>
                  </a:lnTo>
                  <a:lnTo>
                    <a:pt x="183" y="1465"/>
                  </a:lnTo>
                  <a:lnTo>
                    <a:pt x="155" y="1454"/>
                  </a:lnTo>
                  <a:lnTo>
                    <a:pt x="141" y="1448"/>
                  </a:lnTo>
                  <a:lnTo>
                    <a:pt x="129" y="1441"/>
                  </a:lnTo>
                  <a:lnTo>
                    <a:pt x="117" y="1435"/>
                  </a:lnTo>
                  <a:lnTo>
                    <a:pt x="107" y="1427"/>
                  </a:lnTo>
                  <a:lnTo>
                    <a:pt x="96" y="1421"/>
                  </a:lnTo>
                  <a:lnTo>
                    <a:pt x="87" y="1413"/>
                  </a:lnTo>
                  <a:lnTo>
                    <a:pt x="78" y="1406"/>
                  </a:lnTo>
                  <a:lnTo>
                    <a:pt x="69" y="1397"/>
                  </a:lnTo>
                  <a:lnTo>
                    <a:pt x="61" y="1389"/>
                  </a:lnTo>
                  <a:lnTo>
                    <a:pt x="54" y="1380"/>
                  </a:lnTo>
                  <a:lnTo>
                    <a:pt x="48" y="1370"/>
                  </a:lnTo>
                  <a:lnTo>
                    <a:pt x="42" y="1360"/>
                  </a:lnTo>
                  <a:lnTo>
                    <a:pt x="37" y="1348"/>
                  </a:lnTo>
                  <a:lnTo>
                    <a:pt x="32" y="1336"/>
                  </a:lnTo>
                  <a:lnTo>
                    <a:pt x="28" y="1323"/>
                  </a:lnTo>
                  <a:lnTo>
                    <a:pt x="25" y="1310"/>
                  </a:lnTo>
                  <a:lnTo>
                    <a:pt x="22" y="1296"/>
                  </a:lnTo>
                  <a:lnTo>
                    <a:pt x="20" y="1280"/>
                  </a:lnTo>
                  <a:lnTo>
                    <a:pt x="19" y="1264"/>
                  </a:lnTo>
                  <a:lnTo>
                    <a:pt x="18" y="1247"/>
                  </a:lnTo>
                  <a:lnTo>
                    <a:pt x="18" y="1229"/>
                  </a:lnTo>
                  <a:lnTo>
                    <a:pt x="18" y="1210"/>
                  </a:lnTo>
                  <a:lnTo>
                    <a:pt x="18" y="1189"/>
                  </a:lnTo>
                  <a:lnTo>
                    <a:pt x="20" y="1167"/>
                  </a:lnTo>
                  <a:lnTo>
                    <a:pt x="62" y="1174"/>
                  </a:lnTo>
                  <a:lnTo>
                    <a:pt x="101" y="1181"/>
                  </a:lnTo>
                  <a:lnTo>
                    <a:pt x="118" y="1185"/>
                  </a:lnTo>
                  <a:lnTo>
                    <a:pt x="135" y="1190"/>
                  </a:lnTo>
                  <a:lnTo>
                    <a:pt x="151" y="1195"/>
                  </a:lnTo>
                  <a:lnTo>
                    <a:pt x="166" y="1200"/>
                  </a:lnTo>
                  <a:lnTo>
                    <a:pt x="179" y="1205"/>
                  </a:lnTo>
                  <a:lnTo>
                    <a:pt x="192" y="1212"/>
                  </a:lnTo>
                  <a:lnTo>
                    <a:pt x="203" y="1219"/>
                  </a:lnTo>
                  <a:lnTo>
                    <a:pt x="214" y="1226"/>
                  </a:lnTo>
                  <a:lnTo>
                    <a:pt x="225" y="1233"/>
                  </a:lnTo>
                  <a:lnTo>
                    <a:pt x="234" y="1241"/>
                  </a:lnTo>
                  <a:lnTo>
                    <a:pt x="243" y="1249"/>
                  </a:lnTo>
                  <a:lnTo>
                    <a:pt x="250" y="1258"/>
                  </a:lnTo>
                  <a:lnTo>
                    <a:pt x="257" y="1268"/>
                  </a:lnTo>
                  <a:lnTo>
                    <a:pt x="263" y="1278"/>
                  </a:lnTo>
                  <a:lnTo>
                    <a:pt x="269" y="1290"/>
                  </a:lnTo>
                  <a:lnTo>
                    <a:pt x="274" y="1301"/>
                  </a:lnTo>
                  <a:lnTo>
                    <a:pt x="278" y="1313"/>
                  </a:lnTo>
                  <a:lnTo>
                    <a:pt x="281" y="1326"/>
                  </a:lnTo>
                  <a:lnTo>
                    <a:pt x="284" y="1340"/>
                  </a:lnTo>
                  <a:lnTo>
                    <a:pt x="286" y="1354"/>
                  </a:lnTo>
                  <a:lnTo>
                    <a:pt x="288" y="1370"/>
                  </a:lnTo>
                  <a:lnTo>
                    <a:pt x="289" y="1386"/>
                  </a:lnTo>
                  <a:lnTo>
                    <a:pt x="290" y="1403"/>
                  </a:lnTo>
                  <a:lnTo>
                    <a:pt x="290" y="1420"/>
                  </a:lnTo>
                  <a:lnTo>
                    <a:pt x="288" y="1459"/>
                  </a:lnTo>
                  <a:lnTo>
                    <a:pt x="286" y="1500"/>
                  </a:lnTo>
                  <a:close/>
                  <a:moveTo>
                    <a:pt x="363" y="1493"/>
                  </a:moveTo>
                  <a:lnTo>
                    <a:pt x="368" y="1454"/>
                  </a:lnTo>
                  <a:lnTo>
                    <a:pt x="373" y="1418"/>
                  </a:lnTo>
                  <a:lnTo>
                    <a:pt x="377" y="1385"/>
                  </a:lnTo>
                  <a:lnTo>
                    <a:pt x="383" y="1355"/>
                  </a:lnTo>
                  <a:lnTo>
                    <a:pt x="386" y="1341"/>
                  </a:lnTo>
                  <a:lnTo>
                    <a:pt x="389" y="1327"/>
                  </a:lnTo>
                  <a:lnTo>
                    <a:pt x="393" y="1315"/>
                  </a:lnTo>
                  <a:lnTo>
                    <a:pt x="397" y="1303"/>
                  </a:lnTo>
                  <a:lnTo>
                    <a:pt x="402" y="1291"/>
                  </a:lnTo>
                  <a:lnTo>
                    <a:pt x="407" y="1279"/>
                  </a:lnTo>
                  <a:lnTo>
                    <a:pt x="413" y="1269"/>
                  </a:lnTo>
                  <a:lnTo>
                    <a:pt x="419" y="1259"/>
                  </a:lnTo>
                  <a:lnTo>
                    <a:pt x="426" y="1250"/>
                  </a:lnTo>
                  <a:lnTo>
                    <a:pt x="433" y="1241"/>
                  </a:lnTo>
                  <a:lnTo>
                    <a:pt x="442" y="1233"/>
                  </a:lnTo>
                  <a:lnTo>
                    <a:pt x="451" y="1225"/>
                  </a:lnTo>
                  <a:lnTo>
                    <a:pt x="461" y="1218"/>
                  </a:lnTo>
                  <a:lnTo>
                    <a:pt x="471" y="1211"/>
                  </a:lnTo>
                  <a:lnTo>
                    <a:pt x="483" y="1203"/>
                  </a:lnTo>
                  <a:lnTo>
                    <a:pt x="495" y="1197"/>
                  </a:lnTo>
                  <a:lnTo>
                    <a:pt x="508" y="1192"/>
                  </a:lnTo>
                  <a:lnTo>
                    <a:pt x="524" y="1187"/>
                  </a:lnTo>
                  <a:lnTo>
                    <a:pt x="539" y="1182"/>
                  </a:lnTo>
                  <a:lnTo>
                    <a:pt x="555" y="1177"/>
                  </a:lnTo>
                  <a:lnTo>
                    <a:pt x="573" y="1173"/>
                  </a:lnTo>
                  <a:lnTo>
                    <a:pt x="592" y="1169"/>
                  </a:lnTo>
                  <a:lnTo>
                    <a:pt x="612" y="1166"/>
                  </a:lnTo>
                  <a:lnTo>
                    <a:pt x="633" y="1162"/>
                  </a:lnTo>
                  <a:lnTo>
                    <a:pt x="636" y="1205"/>
                  </a:lnTo>
                  <a:lnTo>
                    <a:pt x="637" y="1245"/>
                  </a:lnTo>
                  <a:lnTo>
                    <a:pt x="636" y="1262"/>
                  </a:lnTo>
                  <a:lnTo>
                    <a:pt x="635" y="1279"/>
                  </a:lnTo>
                  <a:lnTo>
                    <a:pt x="634" y="1297"/>
                  </a:lnTo>
                  <a:lnTo>
                    <a:pt x="632" y="1312"/>
                  </a:lnTo>
                  <a:lnTo>
                    <a:pt x="629" y="1326"/>
                  </a:lnTo>
                  <a:lnTo>
                    <a:pt x="626" y="1340"/>
                  </a:lnTo>
                  <a:lnTo>
                    <a:pt x="622" y="1353"/>
                  </a:lnTo>
                  <a:lnTo>
                    <a:pt x="618" y="1366"/>
                  </a:lnTo>
                  <a:lnTo>
                    <a:pt x="613" y="1377"/>
                  </a:lnTo>
                  <a:lnTo>
                    <a:pt x="607" y="1388"/>
                  </a:lnTo>
                  <a:lnTo>
                    <a:pt x="601" y="1398"/>
                  </a:lnTo>
                  <a:lnTo>
                    <a:pt x="594" y="1407"/>
                  </a:lnTo>
                  <a:lnTo>
                    <a:pt x="586" y="1416"/>
                  </a:lnTo>
                  <a:lnTo>
                    <a:pt x="576" y="1424"/>
                  </a:lnTo>
                  <a:lnTo>
                    <a:pt x="567" y="1431"/>
                  </a:lnTo>
                  <a:lnTo>
                    <a:pt x="557" y="1440"/>
                  </a:lnTo>
                  <a:lnTo>
                    <a:pt x="546" y="1446"/>
                  </a:lnTo>
                  <a:lnTo>
                    <a:pt x="534" y="1452"/>
                  </a:lnTo>
                  <a:lnTo>
                    <a:pt x="521" y="1458"/>
                  </a:lnTo>
                  <a:lnTo>
                    <a:pt x="507" y="1463"/>
                  </a:lnTo>
                  <a:lnTo>
                    <a:pt x="492" y="1468"/>
                  </a:lnTo>
                  <a:lnTo>
                    <a:pt x="477" y="1472"/>
                  </a:lnTo>
                  <a:lnTo>
                    <a:pt x="461" y="1476"/>
                  </a:lnTo>
                  <a:lnTo>
                    <a:pt x="444" y="1480"/>
                  </a:lnTo>
                  <a:lnTo>
                    <a:pt x="405" y="1487"/>
                  </a:lnTo>
                  <a:lnTo>
                    <a:pt x="363" y="1493"/>
                  </a:lnTo>
                  <a:close/>
                  <a:moveTo>
                    <a:pt x="290" y="1170"/>
                  </a:moveTo>
                  <a:lnTo>
                    <a:pt x="256" y="1159"/>
                  </a:lnTo>
                  <a:lnTo>
                    <a:pt x="224" y="1148"/>
                  </a:lnTo>
                  <a:lnTo>
                    <a:pt x="194" y="1137"/>
                  </a:lnTo>
                  <a:lnTo>
                    <a:pt x="168" y="1125"/>
                  </a:lnTo>
                  <a:lnTo>
                    <a:pt x="144" y="1114"/>
                  </a:lnTo>
                  <a:lnTo>
                    <a:pt x="123" y="1102"/>
                  </a:lnTo>
                  <a:lnTo>
                    <a:pt x="114" y="1096"/>
                  </a:lnTo>
                  <a:lnTo>
                    <a:pt x="105" y="1089"/>
                  </a:lnTo>
                  <a:lnTo>
                    <a:pt x="96" y="1082"/>
                  </a:lnTo>
                  <a:lnTo>
                    <a:pt x="89" y="1074"/>
                  </a:lnTo>
                  <a:lnTo>
                    <a:pt x="82" y="1066"/>
                  </a:lnTo>
                  <a:lnTo>
                    <a:pt x="75" y="1057"/>
                  </a:lnTo>
                  <a:lnTo>
                    <a:pt x="68" y="1048"/>
                  </a:lnTo>
                  <a:lnTo>
                    <a:pt x="63" y="1038"/>
                  </a:lnTo>
                  <a:lnTo>
                    <a:pt x="58" y="1028"/>
                  </a:lnTo>
                  <a:lnTo>
                    <a:pt x="54" y="1017"/>
                  </a:lnTo>
                  <a:lnTo>
                    <a:pt x="50" y="1005"/>
                  </a:lnTo>
                  <a:lnTo>
                    <a:pt x="47" y="993"/>
                  </a:lnTo>
                  <a:lnTo>
                    <a:pt x="45" y="979"/>
                  </a:lnTo>
                  <a:lnTo>
                    <a:pt x="43" y="965"/>
                  </a:lnTo>
                  <a:lnTo>
                    <a:pt x="41" y="950"/>
                  </a:lnTo>
                  <a:lnTo>
                    <a:pt x="41" y="934"/>
                  </a:lnTo>
                  <a:lnTo>
                    <a:pt x="40" y="898"/>
                  </a:lnTo>
                  <a:lnTo>
                    <a:pt x="42" y="860"/>
                  </a:lnTo>
                  <a:lnTo>
                    <a:pt x="82" y="866"/>
                  </a:lnTo>
                  <a:lnTo>
                    <a:pt x="118" y="873"/>
                  </a:lnTo>
                  <a:lnTo>
                    <a:pt x="134" y="877"/>
                  </a:lnTo>
                  <a:lnTo>
                    <a:pt x="150" y="881"/>
                  </a:lnTo>
                  <a:lnTo>
                    <a:pt x="165" y="885"/>
                  </a:lnTo>
                  <a:lnTo>
                    <a:pt x="178" y="890"/>
                  </a:lnTo>
                  <a:lnTo>
                    <a:pt x="191" y="895"/>
                  </a:lnTo>
                  <a:lnTo>
                    <a:pt x="202" y="901"/>
                  </a:lnTo>
                  <a:lnTo>
                    <a:pt x="213" y="907"/>
                  </a:lnTo>
                  <a:lnTo>
                    <a:pt x="224" y="914"/>
                  </a:lnTo>
                  <a:lnTo>
                    <a:pt x="234" y="921"/>
                  </a:lnTo>
                  <a:lnTo>
                    <a:pt x="242" y="928"/>
                  </a:lnTo>
                  <a:lnTo>
                    <a:pt x="250" y="936"/>
                  </a:lnTo>
                  <a:lnTo>
                    <a:pt x="257" y="945"/>
                  </a:lnTo>
                  <a:lnTo>
                    <a:pt x="263" y="953"/>
                  </a:lnTo>
                  <a:lnTo>
                    <a:pt x="269" y="963"/>
                  </a:lnTo>
                  <a:lnTo>
                    <a:pt x="274" y="973"/>
                  </a:lnTo>
                  <a:lnTo>
                    <a:pt x="279" y="985"/>
                  </a:lnTo>
                  <a:lnTo>
                    <a:pt x="282" y="996"/>
                  </a:lnTo>
                  <a:lnTo>
                    <a:pt x="286" y="1008"/>
                  </a:lnTo>
                  <a:lnTo>
                    <a:pt x="288" y="1020"/>
                  </a:lnTo>
                  <a:lnTo>
                    <a:pt x="290" y="1034"/>
                  </a:lnTo>
                  <a:lnTo>
                    <a:pt x="293" y="1048"/>
                  </a:lnTo>
                  <a:lnTo>
                    <a:pt x="294" y="1063"/>
                  </a:lnTo>
                  <a:lnTo>
                    <a:pt x="295" y="1079"/>
                  </a:lnTo>
                  <a:lnTo>
                    <a:pt x="295" y="1095"/>
                  </a:lnTo>
                  <a:lnTo>
                    <a:pt x="293" y="1130"/>
                  </a:lnTo>
                  <a:lnTo>
                    <a:pt x="290" y="1170"/>
                  </a:lnTo>
                  <a:close/>
                  <a:moveTo>
                    <a:pt x="362" y="1163"/>
                  </a:moveTo>
                  <a:lnTo>
                    <a:pt x="367" y="1126"/>
                  </a:lnTo>
                  <a:lnTo>
                    <a:pt x="371" y="1093"/>
                  </a:lnTo>
                  <a:lnTo>
                    <a:pt x="375" y="1063"/>
                  </a:lnTo>
                  <a:lnTo>
                    <a:pt x="380" y="1034"/>
                  </a:lnTo>
                  <a:lnTo>
                    <a:pt x="386" y="1009"/>
                  </a:lnTo>
                  <a:lnTo>
                    <a:pt x="394" y="986"/>
                  </a:lnTo>
                  <a:lnTo>
                    <a:pt x="398" y="974"/>
                  </a:lnTo>
                  <a:lnTo>
                    <a:pt x="403" y="964"/>
                  </a:lnTo>
                  <a:lnTo>
                    <a:pt x="408" y="954"/>
                  </a:lnTo>
                  <a:lnTo>
                    <a:pt x="414" y="945"/>
                  </a:lnTo>
                  <a:lnTo>
                    <a:pt x="420" y="937"/>
                  </a:lnTo>
                  <a:lnTo>
                    <a:pt x="427" y="929"/>
                  </a:lnTo>
                  <a:lnTo>
                    <a:pt x="435" y="921"/>
                  </a:lnTo>
                  <a:lnTo>
                    <a:pt x="444" y="914"/>
                  </a:lnTo>
                  <a:lnTo>
                    <a:pt x="453" y="906"/>
                  </a:lnTo>
                  <a:lnTo>
                    <a:pt x="463" y="899"/>
                  </a:lnTo>
                  <a:lnTo>
                    <a:pt x="473" y="893"/>
                  </a:lnTo>
                  <a:lnTo>
                    <a:pt x="485" y="888"/>
                  </a:lnTo>
                  <a:lnTo>
                    <a:pt x="497" y="883"/>
                  </a:lnTo>
                  <a:lnTo>
                    <a:pt x="510" y="878"/>
                  </a:lnTo>
                  <a:lnTo>
                    <a:pt x="526" y="873"/>
                  </a:lnTo>
                  <a:lnTo>
                    <a:pt x="541" y="869"/>
                  </a:lnTo>
                  <a:lnTo>
                    <a:pt x="575" y="862"/>
                  </a:lnTo>
                  <a:lnTo>
                    <a:pt x="614" y="855"/>
                  </a:lnTo>
                  <a:lnTo>
                    <a:pt x="616" y="895"/>
                  </a:lnTo>
                  <a:lnTo>
                    <a:pt x="617" y="932"/>
                  </a:lnTo>
                  <a:lnTo>
                    <a:pt x="617" y="948"/>
                  </a:lnTo>
                  <a:lnTo>
                    <a:pt x="616" y="964"/>
                  </a:lnTo>
                  <a:lnTo>
                    <a:pt x="614" y="979"/>
                  </a:lnTo>
                  <a:lnTo>
                    <a:pt x="612" y="994"/>
                  </a:lnTo>
                  <a:lnTo>
                    <a:pt x="610" y="1008"/>
                  </a:lnTo>
                  <a:lnTo>
                    <a:pt x="607" y="1020"/>
                  </a:lnTo>
                  <a:lnTo>
                    <a:pt x="604" y="1032"/>
                  </a:lnTo>
                  <a:lnTo>
                    <a:pt x="599" y="1044"/>
                  </a:lnTo>
                  <a:lnTo>
                    <a:pt x="595" y="1054"/>
                  </a:lnTo>
                  <a:lnTo>
                    <a:pt x="589" y="1065"/>
                  </a:lnTo>
                  <a:lnTo>
                    <a:pt x="582" y="1074"/>
                  </a:lnTo>
                  <a:lnTo>
                    <a:pt x="576" y="1083"/>
                  </a:lnTo>
                  <a:lnTo>
                    <a:pt x="568" y="1091"/>
                  </a:lnTo>
                  <a:lnTo>
                    <a:pt x="560" y="1099"/>
                  </a:lnTo>
                  <a:lnTo>
                    <a:pt x="552" y="1106"/>
                  </a:lnTo>
                  <a:lnTo>
                    <a:pt x="542" y="1112"/>
                  </a:lnTo>
                  <a:lnTo>
                    <a:pt x="532" y="1118"/>
                  </a:lnTo>
                  <a:lnTo>
                    <a:pt x="521" y="1124"/>
                  </a:lnTo>
                  <a:lnTo>
                    <a:pt x="508" y="1129"/>
                  </a:lnTo>
                  <a:lnTo>
                    <a:pt x="496" y="1135"/>
                  </a:lnTo>
                  <a:lnTo>
                    <a:pt x="482" y="1140"/>
                  </a:lnTo>
                  <a:lnTo>
                    <a:pt x="468" y="1144"/>
                  </a:lnTo>
                  <a:lnTo>
                    <a:pt x="453" y="1148"/>
                  </a:lnTo>
                  <a:lnTo>
                    <a:pt x="436" y="1151"/>
                  </a:lnTo>
                  <a:lnTo>
                    <a:pt x="401" y="1158"/>
                  </a:lnTo>
                  <a:lnTo>
                    <a:pt x="362" y="1163"/>
                  </a:lnTo>
                  <a:close/>
                  <a:moveTo>
                    <a:pt x="327" y="955"/>
                  </a:moveTo>
                  <a:lnTo>
                    <a:pt x="304" y="921"/>
                  </a:lnTo>
                  <a:lnTo>
                    <a:pt x="282" y="888"/>
                  </a:lnTo>
                  <a:lnTo>
                    <a:pt x="263" y="858"/>
                  </a:lnTo>
                  <a:lnTo>
                    <a:pt x="247" y="829"/>
                  </a:lnTo>
                  <a:lnTo>
                    <a:pt x="240" y="816"/>
                  </a:lnTo>
                  <a:lnTo>
                    <a:pt x="234" y="803"/>
                  </a:lnTo>
                  <a:lnTo>
                    <a:pt x="228" y="790"/>
                  </a:lnTo>
                  <a:lnTo>
                    <a:pt x="224" y="778"/>
                  </a:lnTo>
                  <a:lnTo>
                    <a:pt x="219" y="765"/>
                  </a:lnTo>
                  <a:lnTo>
                    <a:pt x="215" y="752"/>
                  </a:lnTo>
                  <a:lnTo>
                    <a:pt x="213" y="740"/>
                  </a:lnTo>
                  <a:lnTo>
                    <a:pt x="211" y="728"/>
                  </a:lnTo>
                  <a:lnTo>
                    <a:pt x="210" y="716"/>
                  </a:lnTo>
                  <a:lnTo>
                    <a:pt x="210" y="704"/>
                  </a:lnTo>
                  <a:lnTo>
                    <a:pt x="211" y="692"/>
                  </a:lnTo>
                  <a:lnTo>
                    <a:pt x="213" y="679"/>
                  </a:lnTo>
                  <a:lnTo>
                    <a:pt x="216" y="667"/>
                  </a:lnTo>
                  <a:lnTo>
                    <a:pt x="221" y="654"/>
                  </a:lnTo>
                  <a:lnTo>
                    <a:pt x="226" y="642"/>
                  </a:lnTo>
                  <a:lnTo>
                    <a:pt x="232" y="629"/>
                  </a:lnTo>
                  <a:lnTo>
                    <a:pt x="239" y="616"/>
                  </a:lnTo>
                  <a:lnTo>
                    <a:pt x="247" y="602"/>
                  </a:lnTo>
                  <a:lnTo>
                    <a:pt x="256" y="588"/>
                  </a:lnTo>
                  <a:lnTo>
                    <a:pt x="266" y="574"/>
                  </a:lnTo>
                  <a:lnTo>
                    <a:pt x="277" y="559"/>
                  </a:lnTo>
                  <a:lnTo>
                    <a:pt x="290" y="544"/>
                  </a:lnTo>
                  <a:lnTo>
                    <a:pt x="305" y="528"/>
                  </a:lnTo>
                  <a:lnTo>
                    <a:pt x="320" y="512"/>
                  </a:lnTo>
                  <a:lnTo>
                    <a:pt x="351" y="546"/>
                  </a:lnTo>
                  <a:lnTo>
                    <a:pt x="379" y="577"/>
                  </a:lnTo>
                  <a:lnTo>
                    <a:pt x="391" y="592"/>
                  </a:lnTo>
                  <a:lnTo>
                    <a:pt x="402" y="606"/>
                  </a:lnTo>
                  <a:lnTo>
                    <a:pt x="412" y="622"/>
                  </a:lnTo>
                  <a:lnTo>
                    <a:pt x="421" y="635"/>
                  </a:lnTo>
                  <a:lnTo>
                    <a:pt x="428" y="649"/>
                  </a:lnTo>
                  <a:lnTo>
                    <a:pt x="435" y="662"/>
                  </a:lnTo>
                  <a:lnTo>
                    <a:pt x="442" y="675"/>
                  </a:lnTo>
                  <a:lnTo>
                    <a:pt x="446" y="689"/>
                  </a:lnTo>
                  <a:lnTo>
                    <a:pt x="450" y="701"/>
                  </a:lnTo>
                  <a:lnTo>
                    <a:pt x="453" y="714"/>
                  </a:lnTo>
                  <a:lnTo>
                    <a:pt x="454" y="726"/>
                  </a:lnTo>
                  <a:lnTo>
                    <a:pt x="455" y="738"/>
                  </a:lnTo>
                  <a:lnTo>
                    <a:pt x="454" y="750"/>
                  </a:lnTo>
                  <a:lnTo>
                    <a:pt x="453" y="764"/>
                  </a:lnTo>
                  <a:lnTo>
                    <a:pt x="451" y="776"/>
                  </a:lnTo>
                  <a:lnTo>
                    <a:pt x="447" y="788"/>
                  </a:lnTo>
                  <a:lnTo>
                    <a:pt x="443" y="800"/>
                  </a:lnTo>
                  <a:lnTo>
                    <a:pt x="436" y="813"/>
                  </a:lnTo>
                  <a:lnTo>
                    <a:pt x="430" y="826"/>
                  </a:lnTo>
                  <a:lnTo>
                    <a:pt x="422" y="839"/>
                  </a:lnTo>
                  <a:lnTo>
                    <a:pt x="414" y="853"/>
                  </a:lnTo>
                  <a:lnTo>
                    <a:pt x="405" y="866"/>
                  </a:lnTo>
                  <a:lnTo>
                    <a:pt x="394" y="880"/>
                  </a:lnTo>
                  <a:lnTo>
                    <a:pt x="383" y="894"/>
                  </a:lnTo>
                  <a:lnTo>
                    <a:pt x="356" y="924"/>
                  </a:lnTo>
                  <a:lnTo>
                    <a:pt x="327" y="955"/>
                  </a:lnTo>
                  <a:close/>
                  <a:moveTo>
                    <a:pt x="306" y="1927"/>
                  </a:moveTo>
                  <a:lnTo>
                    <a:pt x="362" y="1928"/>
                  </a:lnTo>
                  <a:lnTo>
                    <a:pt x="359" y="2271"/>
                  </a:lnTo>
                  <a:lnTo>
                    <a:pt x="304" y="2271"/>
                  </a:lnTo>
                  <a:lnTo>
                    <a:pt x="306" y="1927"/>
                  </a:lnTo>
                  <a:close/>
                  <a:moveTo>
                    <a:pt x="43" y="0"/>
                  </a:moveTo>
                  <a:lnTo>
                    <a:pt x="70" y="0"/>
                  </a:lnTo>
                  <a:lnTo>
                    <a:pt x="75" y="775"/>
                  </a:lnTo>
                  <a:lnTo>
                    <a:pt x="47" y="775"/>
                  </a:lnTo>
                  <a:lnTo>
                    <a:pt x="43" y="0"/>
                  </a:lnTo>
                  <a:close/>
                  <a:moveTo>
                    <a:pt x="594" y="302"/>
                  </a:moveTo>
                  <a:lnTo>
                    <a:pt x="611" y="302"/>
                  </a:lnTo>
                  <a:lnTo>
                    <a:pt x="613" y="814"/>
                  </a:lnTo>
                  <a:lnTo>
                    <a:pt x="596" y="814"/>
                  </a:lnTo>
                  <a:lnTo>
                    <a:pt x="594" y="302"/>
                  </a:lnTo>
                  <a:close/>
                  <a:moveTo>
                    <a:pt x="414" y="201"/>
                  </a:moveTo>
                  <a:lnTo>
                    <a:pt x="425" y="201"/>
                  </a:lnTo>
                  <a:lnTo>
                    <a:pt x="426" y="516"/>
                  </a:lnTo>
                  <a:lnTo>
                    <a:pt x="416" y="516"/>
                  </a:lnTo>
                  <a:lnTo>
                    <a:pt x="414" y="201"/>
                  </a:lnTo>
                  <a:close/>
                  <a:moveTo>
                    <a:pt x="234" y="103"/>
                  </a:moveTo>
                  <a:lnTo>
                    <a:pt x="246" y="103"/>
                  </a:lnTo>
                  <a:lnTo>
                    <a:pt x="248" y="443"/>
                  </a:lnTo>
                  <a:lnTo>
                    <a:pt x="236" y="443"/>
                  </a:lnTo>
                  <a:lnTo>
                    <a:pt x="234" y="103"/>
                  </a:lnTo>
                  <a:close/>
                  <a:moveTo>
                    <a:pt x="375" y="1839"/>
                  </a:moveTo>
                  <a:lnTo>
                    <a:pt x="380" y="1796"/>
                  </a:lnTo>
                  <a:lnTo>
                    <a:pt x="384" y="1758"/>
                  </a:lnTo>
                  <a:lnTo>
                    <a:pt x="389" y="1721"/>
                  </a:lnTo>
                  <a:lnTo>
                    <a:pt x="395" y="1689"/>
                  </a:lnTo>
                  <a:lnTo>
                    <a:pt x="399" y="1674"/>
                  </a:lnTo>
                  <a:lnTo>
                    <a:pt x="402" y="1660"/>
                  </a:lnTo>
                  <a:lnTo>
                    <a:pt x="406" y="1645"/>
                  </a:lnTo>
                  <a:lnTo>
                    <a:pt x="411" y="1632"/>
                  </a:lnTo>
                  <a:lnTo>
                    <a:pt x="416" y="1619"/>
                  </a:lnTo>
                  <a:lnTo>
                    <a:pt x="421" y="1607"/>
                  </a:lnTo>
                  <a:lnTo>
                    <a:pt x="427" y="1596"/>
                  </a:lnTo>
                  <a:lnTo>
                    <a:pt x="434" y="1586"/>
                  </a:lnTo>
                  <a:lnTo>
                    <a:pt x="443" y="1575"/>
                  </a:lnTo>
                  <a:lnTo>
                    <a:pt x="451" y="1565"/>
                  </a:lnTo>
                  <a:lnTo>
                    <a:pt x="460" y="1556"/>
                  </a:lnTo>
                  <a:lnTo>
                    <a:pt x="469" y="1548"/>
                  </a:lnTo>
                  <a:lnTo>
                    <a:pt x="480" y="1540"/>
                  </a:lnTo>
                  <a:lnTo>
                    <a:pt x="491" y="1532"/>
                  </a:lnTo>
                  <a:lnTo>
                    <a:pt x="503" y="1525"/>
                  </a:lnTo>
                  <a:lnTo>
                    <a:pt x="518" y="1519"/>
                  </a:lnTo>
                  <a:lnTo>
                    <a:pt x="532" y="1513"/>
                  </a:lnTo>
                  <a:lnTo>
                    <a:pt x="548" y="1506"/>
                  </a:lnTo>
                  <a:lnTo>
                    <a:pt x="564" y="1501"/>
                  </a:lnTo>
                  <a:lnTo>
                    <a:pt x="582" y="1496"/>
                  </a:lnTo>
                  <a:lnTo>
                    <a:pt x="602" y="1491"/>
                  </a:lnTo>
                  <a:lnTo>
                    <a:pt x="622" y="1487"/>
                  </a:lnTo>
                  <a:lnTo>
                    <a:pt x="644" y="1483"/>
                  </a:lnTo>
                  <a:lnTo>
                    <a:pt x="668" y="1480"/>
                  </a:lnTo>
                  <a:lnTo>
                    <a:pt x="670" y="1527"/>
                  </a:lnTo>
                  <a:lnTo>
                    <a:pt x="671" y="1569"/>
                  </a:lnTo>
                  <a:lnTo>
                    <a:pt x="671" y="1589"/>
                  </a:lnTo>
                  <a:lnTo>
                    <a:pt x="670" y="1608"/>
                  </a:lnTo>
                  <a:lnTo>
                    <a:pt x="668" y="1625"/>
                  </a:lnTo>
                  <a:lnTo>
                    <a:pt x="666" y="1642"/>
                  </a:lnTo>
                  <a:lnTo>
                    <a:pt x="663" y="1657"/>
                  </a:lnTo>
                  <a:lnTo>
                    <a:pt x="660" y="1673"/>
                  </a:lnTo>
                  <a:lnTo>
                    <a:pt x="655" y="1687"/>
                  </a:lnTo>
                  <a:lnTo>
                    <a:pt x="650" y="1700"/>
                  </a:lnTo>
                  <a:lnTo>
                    <a:pt x="644" y="1712"/>
                  </a:lnTo>
                  <a:lnTo>
                    <a:pt x="638" y="1724"/>
                  </a:lnTo>
                  <a:lnTo>
                    <a:pt x="631" y="1736"/>
                  </a:lnTo>
                  <a:lnTo>
                    <a:pt x="623" y="1746"/>
                  </a:lnTo>
                  <a:lnTo>
                    <a:pt x="615" y="1755"/>
                  </a:lnTo>
                  <a:lnTo>
                    <a:pt x="606" y="1764"/>
                  </a:lnTo>
                  <a:lnTo>
                    <a:pt x="595" y="1772"/>
                  </a:lnTo>
                  <a:lnTo>
                    <a:pt x="583" y="1780"/>
                  </a:lnTo>
                  <a:lnTo>
                    <a:pt x="571" y="1787"/>
                  </a:lnTo>
                  <a:lnTo>
                    <a:pt x="559" y="1794"/>
                  </a:lnTo>
                  <a:lnTo>
                    <a:pt x="545" y="1800"/>
                  </a:lnTo>
                  <a:lnTo>
                    <a:pt x="530" y="1805"/>
                  </a:lnTo>
                  <a:lnTo>
                    <a:pt x="515" y="1812"/>
                  </a:lnTo>
                  <a:lnTo>
                    <a:pt x="497" y="1816"/>
                  </a:lnTo>
                  <a:lnTo>
                    <a:pt x="480" y="1821"/>
                  </a:lnTo>
                  <a:lnTo>
                    <a:pt x="461" y="1825"/>
                  </a:lnTo>
                  <a:lnTo>
                    <a:pt x="420" y="1832"/>
                  </a:lnTo>
                  <a:lnTo>
                    <a:pt x="375" y="18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27">
              <a:extLst>
                <a:ext uri="{FF2B5EF4-FFF2-40B4-BE49-F238E27FC236}">
                  <a16:creationId xmlns:a16="http://schemas.microsoft.com/office/drawing/2014/main" id="{6EE68E37-8B22-4497-80F1-AADD4FAE3886}"/>
                </a:ext>
              </a:extLst>
            </p:cNvPr>
            <p:cNvSpPr>
              <a:spLocks noEditPoints="1"/>
            </p:cNvSpPr>
            <p:nvPr/>
          </p:nvSpPr>
          <p:spPr bwMode="auto">
            <a:xfrm>
              <a:off x="9337675" y="5473701"/>
              <a:ext cx="265113" cy="901700"/>
            </a:xfrm>
            <a:custGeom>
              <a:avLst/>
              <a:gdLst>
                <a:gd name="T0" fmla="*/ 550 w 671"/>
                <a:gd name="T1" fmla="*/ 1782 h 2271"/>
                <a:gd name="T2" fmla="*/ 623 w 671"/>
                <a:gd name="T3" fmla="*/ 1725 h 2271"/>
                <a:gd name="T4" fmla="*/ 663 w 671"/>
                <a:gd name="T5" fmla="*/ 1640 h 2271"/>
                <a:gd name="T6" fmla="*/ 670 w 671"/>
                <a:gd name="T7" fmla="*/ 1508 h 2271"/>
                <a:gd name="T8" fmla="*/ 511 w 671"/>
                <a:gd name="T9" fmla="*/ 1521 h 2271"/>
                <a:gd name="T10" fmla="*/ 427 w 671"/>
                <a:gd name="T11" fmla="*/ 1574 h 2271"/>
                <a:gd name="T12" fmla="*/ 385 w 671"/>
                <a:gd name="T13" fmla="*/ 1657 h 2271"/>
                <a:gd name="T14" fmla="*/ 377 w 671"/>
                <a:gd name="T15" fmla="*/ 1801 h 2271"/>
                <a:gd name="T16" fmla="*/ 529 w 671"/>
                <a:gd name="T17" fmla="*/ 1448 h 2271"/>
                <a:gd name="T18" fmla="*/ 602 w 671"/>
                <a:gd name="T19" fmla="*/ 1397 h 2271"/>
                <a:gd name="T20" fmla="*/ 643 w 671"/>
                <a:gd name="T21" fmla="*/ 1323 h 2271"/>
                <a:gd name="T22" fmla="*/ 653 w 671"/>
                <a:gd name="T23" fmla="*/ 1210 h 2271"/>
                <a:gd name="T24" fmla="*/ 520 w 671"/>
                <a:gd name="T25" fmla="*/ 1195 h 2271"/>
                <a:gd name="T26" fmla="*/ 437 w 671"/>
                <a:gd name="T27" fmla="*/ 1241 h 2271"/>
                <a:gd name="T28" fmla="*/ 392 w 671"/>
                <a:gd name="T29" fmla="*/ 1313 h 2271"/>
                <a:gd name="T30" fmla="*/ 380 w 671"/>
                <a:gd name="T31" fmla="*/ 1420 h 2271"/>
                <a:gd name="T32" fmla="*/ 288 w 671"/>
                <a:gd name="T33" fmla="*/ 1355 h 2271"/>
                <a:gd name="T34" fmla="*/ 258 w 671"/>
                <a:gd name="T35" fmla="*/ 1269 h 2271"/>
                <a:gd name="T36" fmla="*/ 200 w 671"/>
                <a:gd name="T37" fmla="*/ 1211 h 2271"/>
                <a:gd name="T38" fmla="*/ 97 w 671"/>
                <a:gd name="T39" fmla="*/ 1173 h 2271"/>
                <a:gd name="T40" fmla="*/ 35 w 671"/>
                <a:gd name="T41" fmla="*/ 1279 h 2271"/>
                <a:gd name="T42" fmla="*/ 58 w 671"/>
                <a:gd name="T43" fmla="*/ 1377 h 2271"/>
                <a:gd name="T44" fmla="*/ 114 w 671"/>
                <a:gd name="T45" fmla="*/ 1440 h 2271"/>
                <a:gd name="T46" fmla="*/ 210 w 671"/>
                <a:gd name="T47" fmla="*/ 1476 h 2271"/>
                <a:gd name="T48" fmla="*/ 476 w 671"/>
                <a:gd name="T49" fmla="*/ 1137 h 2271"/>
                <a:gd name="T50" fmla="*/ 582 w 671"/>
                <a:gd name="T51" fmla="*/ 1074 h 2271"/>
                <a:gd name="T52" fmla="*/ 620 w 671"/>
                <a:gd name="T53" fmla="*/ 1005 h 2271"/>
                <a:gd name="T54" fmla="*/ 628 w 671"/>
                <a:gd name="T55" fmla="*/ 860 h 2271"/>
                <a:gd name="T56" fmla="*/ 480 w 671"/>
                <a:gd name="T57" fmla="*/ 895 h 2271"/>
                <a:gd name="T58" fmla="*/ 413 w 671"/>
                <a:gd name="T59" fmla="*/ 944 h 2271"/>
                <a:gd name="T60" fmla="*/ 382 w 671"/>
                <a:gd name="T61" fmla="*/ 1020 h 2271"/>
                <a:gd name="T62" fmla="*/ 380 w 671"/>
                <a:gd name="T63" fmla="*/ 1170 h 2271"/>
                <a:gd name="T64" fmla="*/ 277 w 671"/>
                <a:gd name="T65" fmla="*/ 986 h 2271"/>
                <a:gd name="T66" fmla="*/ 235 w 671"/>
                <a:gd name="T67" fmla="*/ 921 h 2271"/>
                <a:gd name="T68" fmla="*/ 160 w 671"/>
                <a:gd name="T69" fmla="*/ 878 h 2271"/>
                <a:gd name="T70" fmla="*/ 55 w 671"/>
                <a:gd name="T71" fmla="*/ 948 h 2271"/>
                <a:gd name="T72" fmla="*/ 72 w 671"/>
                <a:gd name="T73" fmla="*/ 1044 h 2271"/>
                <a:gd name="T74" fmla="*/ 118 w 671"/>
                <a:gd name="T75" fmla="*/ 1106 h 2271"/>
                <a:gd name="T76" fmla="*/ 203 w 671"/>
                <a:gd name="T77" fmla="*/ 1144 h 2271"/>
                <a:gd name="T78" fmla="*/ 388 w 671"/>
                <a:gd name="T79" fmla="*/ 888 h 2271"/>
                <a:gd name="T80" fmla="*/ 452 w 671"/>
                <a:gd name="T81" fmla="*/ 765 h 2271"/>
                <a:gd name="T82" fmla="*/ 457 w 671"/>
                <a:gd name="T83" fmla="*/ 679 h 2271"/>
                <a:gd name="T84" fmla="*/ 414 w 671"/>
                <a:gd name="T85" fmla="*/ 588 h 2271"/>
                <a:gd name="T86" fmla="*/ 292 w 671"/>
                <a:gd name="T87" fmla="*/ 577 h 2271"/>
                <a:gd name="T88" fmla="*/ 229 w 671"/>
                <a:gd name="T89" fmla="*/ 675 h 2271"/>
                <a:gd name="T90" fmla="*/ 218 w 671"/>
                <a:gd name="T91" fmla="*/ 764 h 2271"/>
                <a:gd name="T92" fmla="*/ 256 w 671"/>
                <a:gd name="T93" fmla="*/ 853 h 2271"/>
                <a:gd name="T94" fmla="*/ 308 w 671"/>
                <a:gd name="T95" fmla="*/ 1928 h 2271"/>
                <a:gd name="T96" fmla="*/ 623 w 671"/>
                <a:gd name="T97" fmla="*/ 775 h 2271"/>
                <a:gd name="T98" fmla="*/ 256 w 671"/>
                <a:gd name="T99" fmla="*/ 201 h 2271"/>
                <a:gd name="T100" fmla="*/ 424 w 671"/>
                <a:gd name="T101" fmla="*/ 443 h 2271"/>
                <a:gd name="T102" fmla="*/ 276 w 671"/>
                <a:gd name="T103" fmla="*/ 1689 h 2271"/>
                <a:gd name="T104" fmla="*/ 243 w 671"/>
                <a:gd name="T105" fmla="*/ 1596 h 2271"/>
                <a:gd name="T106" fmla="*/ 179 w 671"/>
                <a:gd name="T107" fmla="*/ 1532 h 2271"/>
                <a:gd name="T108" fmla="*/ 69 w 671"/>
                <a:gd name="T109" fmla="*/ 1491 h 2271"/>
                <a:gd name="T110" fmla="*/ 1 w 671"/>
                <a:gd name="T111" fmla="*/ 1608 h 2271"/>
                <a:gd name="T112" fmla="*/ 26 w 671"/>
                <a:gd name="T113" fmla="*/ 1712 h 2271"/>
                <a:gd name="T114" fmla="*/ 87 w 671"/>
                <a:gd name="T115" fmla="*/ 1780 h 2271"/>
                <a:gd name="T116" fmla="*/ 191 w 671"/>
                <a:gd name="T117" fmla="*/ 1821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2271">
                  <a:moveTo>
                    <a:pt x="380" y="1847"/>
                  </a:moveTo>
                  <a:lnTo>
                    <a:pt x="421" y="1834"/>
                  </a:lnTo>
                  <a:lnTo>
                    <a:pt x="458" y="1821"/>
                  </a:lnTo>
                  <a:lnTo>
                    <a:pt x="492" y="1808"/>
                  </a:lnTo>
                  <a:lnTo>
                    <a:pt x="522" y="1795"/>
                  </a:lnTo>
                  <a:lnTo>
                    <a:pt x="536" y="1789"/>
                  </a:lnTo>
                  <a:lnTo>
                    <a:pt x="550" y="1782"/>
                  </a:lnTo>
                  <a:lnTo>
                    <a:pt x="563" y="1775"/>
                  </a:lnTo>
                  <a:lnTo>
                    <a:pt x="575" y="1768"/>
                  </a:lnTo>
                  <a:lnTo>
                    <a:pt x="586" y="1760"/>
                  </a:lnTo>
                  <a:lnTo>
                    <a:pt x="596" y="1752"/>
                  </a:lnTo>
                  <a:lnTo>
                    <a:pt x="606" y="1744"/>
                  </a:lnTo>
                  <a:lnTo>
                    <a:pt x="615" y="1735"/>
                  </a:lnTo>
                  <a:lnTo>
                    <a:pt x="623" y="1725"/>
                  </a:lnTo>
                  <a:lnTo>
                    <a:pt x="631" y="1715"/>
                  </a:lnTo>
                  <a:lnTo>
                    <a:pt x="639" y="1704"/>
                  </a:lnTo>
                  <a:lnTo>
                    <a:pt x="645" y="1693"/>
                  </a:lnTo>
                  <a:lnTo>
                    <a:pt x="650" y="1681"/>
                  </a:lnTo>
                  <a:lnTo>
                    <a:pt x="655" y="1669"/>
                  </a:lnTo>
                  <a:lnTo>
                    <a:pt x="660" y="1654"/>
                  </a:lnTo>
                  <a:lnTo>
                    <a:pt x="663" y="1640"/>
                  </a:lnTo>
                  <a:lnTo>
                    <a:pt x="666" y="1624"/>
                  </a:lnTo>
                  <a:lnTo>
                    <a:pt x="668" y="1608"/>
                  </a:lnTo>
                  <a:lnTo>
                    <a:pt x="670" y="1591"/>
                  </a:lnTo>
                  <a:lnTo>
                    <a:pt x="671" y="1571"/>
                  </a:lnTo>
                  <a:lnTo>
                    <a:pt x="671" y="1552"/>
                  </a:lnTo>
                  <a:lnTo>
                    <a:pt x="671" y="1531"/>
                  </a:lnTo>
                  <a:lnTo>
                    <a:pt x="670" y="1508"/>
                  </a:lnTo>
                  <a:lnTo>
                    <a:pt x="669" y="1485"/>
                  </a:lnTo>
                  <a:lnTo>
                    <a:pt x="622" y="1492"/>
                  </a:lnTo>
                  <a:lnTo>
                    <a:pt x="581" y="1500"/>
                  </a:lnTo>
                  <a:lnTo>
                    <a:pt x="561" y="1505"/>
                  </a:lnTo>
                  <a:lnTo>
                    <a:pt x="544" y="1511"/>
                  </a:lnTo>
                  <a:lnTo>
                    <a:pt x="527" y="1516"/>
                  </a:lnTo>
                  <a:lnTo>
                    <a:pt x="511" y="1521"/>
                  </a:lnTo>
                  <a:lnTo>
                    <a:pt x="497" y="1527"/>
                  </a:lnTo>
                  <a:lnTo>
                    <a:pt x="482" y="1534"/>
                  </a:lnTo>
                  <a:lnTo>
                    <a:pt x="469" y="1541"/>
                  </a:lnTo>
                  <a:lnTo>
                    <a:pt x="457" y="1548"/>
                  </a:lnTo>
                  <a:lnTo>
                    <a:pt x="447" y="1556"/>
                  </a:lnTo>
                  <a:lnTo>
                    <a:pt x="437" y="1565"/>
                  </a:lnTo>
                  <a:lnTo>
                    <a:pt x="427" y="1574"/>
                  </a:lnTo>
                  <a:lnTo>
                    <a:pt x="419" y="1585"/>
                  </a:lnTo>
                  <a:lnTo>
                    <a:pt x="411" y="1595"/>
                  </a:lnTo>
                  <a:lnTo>
                    <a:pt x="404" y="1606"/>
                  </a:lnTo>
                  <a:lnTo>
                    <a:pt x="398" y="1618"/>
                  </a:lnTo>
                  <a:lnTo>
                    <a:pt x="393" y="1630"/>
                  </a:lnTo>
                  <a:lnTo>
                    <a:pt x="389" y="1643"/>
                  </a:lnTo>
                  <a:lnTo>
                    <a:pt x="385" y="1657"/>
                  </a:lnTo>
                  <a:lnTo>
                    <a:pt x="382" y="1673"/>
                  </a:lnTo>
                  <a:lnTo>
                    <a:pt x="379" y="1688"/>
                  </a:lnTo>
                  <a:lnTo>
                    <a:pt x="378" y="1705"/>
                  </a:lnTo>
                  <a:lnTo>
                    <a:pt x="376" y="1722"/>
                  </a:lnTo>
                  <a:lnTo>
                    <a:pt x="376" y="1741"/>
                  </a:lnTo>
                  <a:lnTo>
                    <a:pt x="376" y="1760"/>
                  </a:lnTo>
                  <a:lnTo>
                    <a:pt x="377" y="1801"/>
                  </a:lnTo>
                  <a:lnTo>
                    <a:pt x="380" y="1847"/>
                  </a:lnTo>
                  <a:close/>
                  <a:moveTo>
                    <a:pt x="385" y="1500"/>
                  </a:moveTo>
                  <a:lnTo>
                    <a:pt x="422" y="1488"/>
                  </a:lnTo>
                  <a:lnTo>
                    <a:pt x="456" y="1477"/>
                  </a:lnTo>
                  <a:lnTo>
                    <a:pt x="487" y="1465"/>
                  </a:lnTo>
                  <a:lnTo>
                    <a:pt x="516" y="1454"/>
                  </a:lnTo>
                  <a:lnTo>
                    <a:pt x="529" y="1448"/>
                  </a:lnTo>
                  <a:lnTo>
                    <a:pt x="541" y="1441"/>
                  </a:lnTo>
                  <a:lnTo>
                    <a:pt x="553" y="1435"/>
                  </a:lnTo>
                  <a:lnTo>
                    <a:pt x="565" y="1427"/>
                  </a:lnTo>
                  <a:lnTo>
                    <a:pt x="575" y="1421"/>
                  </a:lnTo>
                  <a:lnTo>
                    <a:pt x="584" y="1413"/>
                  </a:lnTo>
                  <a:lnTo>
                    <a:pt x="593" y="1406"/>
                  </a:lnTo>
                  <a:lnTo>
                    <a:pt x="602" y="1397"/>
                  </a:lnTo>
                  <a:lnTo>
                    <a:pt x="609" y="1389"/>
                  </a:lnTo>
                  <a:lnTo>
                    <a:pt x="616" y="1380"/>
                  </a:lnTo>
                  <a:lnTo>
                    <a:pt x="622" y="1370"/>
                  </a:lnTo>
                  <a:lnTo>
                    <a:pt x="628" y="1360"/>
                  </a:lnTo>
                  <a:lnTo>
                    <a:pt x="633" y="1348"/>
                  </a:lnTo>
                  <a:lnTo>
                    <a:pt x="639" y="1336"/>
                  </a:lnTo>
                  <a:lnTo>
                    <a:pt x="643" y="1323"/>
                  </a:lnTo>
                  <a:lnTo>
                    <a:pt x="646" y="1310"/>
                  </a:lnTo>
                  <a:lnTo>
                    <a:pt x="649" y="1296"/>
                  </a:lnTo>
                  <a:lnTo>
                    <a:pt x="651" y="1280"/>
                  </a:lnTo>
                  <a:lnTo>
                    <a:pt x="652" y="1264"/>
                  </a:lnTo>
                  <a:lnTo>
                    <a:pt x="653" y="1247"/>
                  </a:lnTo>
                  <a:lnTo>
                    <a:pt x="654" y="1229"/>
                  </a:lnTo>
                  <a:lnTo>
                    <a:pt x="653" y="1210"/>
                  </a:lnTo>
                  <a:lnTo>
                    <a:pt x="653" y="1189"/>
                  </a:lnTo>
                  <a:lnTo>
                    <a:pt x="651" y="1167"/>
                  </a:lnTo>
                  <a:lnTo>
                    <a:pt x="608" y="1174"/>
                  </a:lnTo>
                  <a:lnTo>
                    <a:pt x="570" y="1181"/>
                  </a:lnTo>
                  <a:lnTo>
                    <a:pt x="552" y="1185"/>
                  </a:lnTo>
                  <a:lnTo>
                    <a:pt x="535" y="1190"/>
                  </a:lnTo>
                  <a:lnTo>
                    <a:pt x="520" y="1195"/>
                  </a:lnTo>
                  <a:lnTo>
                    <a:pt x="506" y="1200"/>
                  </a:lnTo>
                  <a:lnTo>
                    <a:pt x="492" y="1205"/>
                  </a:lnTo>
                  <a:lnTo>
                    <a:pt x="478" y="1212"/>
                  </a:lnTo>
                  <a:lnTo>
                    <a:pt x="467" y="1219"/>
                  </a:lnTo>
                  <a:lnTo>
                    <a:pt x="456" y="1226"/>
                  </a:lnTo>
                  <a:lnTo>
                    <a:pt x="446" y="1233"/>
                  </a:lnTo>
                  <a:lnTo>
                    <a:pt x="437" y="1241"/>
                  </a:lnTo>
                  <a:lnTo>
                    <a:pt x="428" y="1249"/>
                  </a:lnTo>
                  <a:lnTo>
                    <a:pt x="421" y="1258"/>
                  </a:lnTo>
                  <a:lnTo>
                    <a:pt x="413" y="1268"/>
                  </a:lnTo>
                  <a:lnTo>
                    <a:pt x="407" y="1278"/>
                  </a:lnTo>
                  <a:lnTo>
                    <a:pt x="401" y="1290"/>
                  </a:lnTo>
                  <a:lnTo>
                    <a:pt x="396" y="1301"/>
                  </a:lnTo>
                  <a:lnTo>
                    <a:pt x="392" y="1313"/>
                  </a:lnTo>
                  <a:lnTo>
                    <a:pt x="389" y="1326"/>
                  </a:lnTo>
                  <a:lnTo>
                    <a:pt x="386" y="1340"/>
                  </a:lnTo>
                  <a:lnTo>
                    <a:pt x="384" y="1354"/>
                  </a:lnTo>
                  <a:lnTo>
                    <a:pt x="382" y="1370"/>
                  </a:lnTo>
                  <a:lnTo>
                    <a:pt x="381" y="1386"/>
                  </a:lnTo>
                  <a:lnTo>
                    <a:pt x="381" y="1403"/>
                  </a:lnTo>
                  <a:lnTo>
                    <a:pt x="380" y="1420"/>
                  </a:lnTo>
                  <a:lnTo>
                    <a:pt x="382" y="1459"/>
                  </a:lnTo>
                  <a:lnTo>
                    <a:pt x="385" y="1500"/>
                  </a:lnTo>
                  <a:close/>
                  <a:moveTo>
                    <a:pt x="307" y="1493"/>
                  </a:moveTo>
                  <a:lnTo>
                    <a:pt x="303" y="1454"/>
                  </a:lnTo>
                  <a:lnTo>
                    <a:pt x="298" y="1418"/>
                  </a:lnTo>
                  <a:lnTo>
                    <a:pt x="294" y="1385"/>
                  </a:lnTo>
                  <a:lnTo>
                    <a:pt x="288" y="1355"/>
                  </a:lnTo>
                  <a:lnTo>
                    <a:pt x="285" y="1341"/>
                  </a:lnTo>
                  <a:lnTo>
                    <a:pt x="282" y="1327"/>
                  </a:lnTo>
                  <a:lnTo>
                    <a:pt x="278" y="1315"/>
                  </a:lnTo>
                  <a:lnTo>
                    <a:pt x="274" y="1303"/>
                  </a:lnTo>
                  <a:lnTo>
                    <a:pt x="268" y="1291"/>
                  </a:lnTo>
                  <a:lnTo>
                    <a:pt x="263" y="1279"/>
                  </a:lnTo>
                  <a:lnTo>
                    <a:pt x="258" y="1269"/>
                  </a:lnTo>
                  <a:lnTo>
                    <a:pt x="251" y="1259"/>
                  </a:lnTo>
                  <a:lnTo>
                    <a:pt x="245" y="1250"/>
                  </a:lnTo>
                  <a:lnTo>
                    <a:pt x="237" y="1241"/>
                  </a:lnTo>
                  <a:lnTo>
                    <a:pt x="229" y="1233"/>
                  </a:lnTo>
                  <a:lnTo>
                    <a:pt x="220" y="1225"/>
                  </a:lnTo>
                  <a:lnTo>
                    <a:pt x="210" y="1218"/>
                  </a:lnTo>
                  <a:lnTo>
                    <a:pt x="200" y="1211"/>
                  </a:lnTo>
                  <a:lnTo>
                    <a:pt x="187" y="1203"/>
                  </a:lnTo>
                  <a:lnTo>
                    <a:pt x="175" y="1197"/>
                  </a:lnTo>
                  <a:lnTo>
                    <a:pt x="162" y="1192"/>
                  </a:lnTo>
                  <a:lnTo>
                    <a:pt x="148" y="1187"/>
                  </a:lnTo>
                  <a:lnTo>
                    <a:pt x="132" y="1182"/>
                  </a:lnTo>
                  <a:lnTo>
                    <a:pt x="115" y="1177"/>
                  </a:lnTo>
                  <a:lnTo>
                    <a:pt x="97" y="1173"/>
                  </a:lnTo>
                  <a:lnTo>
                    <a:pt x="79" y="1169"/>
                  </a:lnTo>
                  <a:lnTo>
                    <a:pt x="59" y="1166"/>
                  </a:lnTo>
                  <a:lnTo>
                    <a:pt x="37" y="1162"/>
                  </a:lnTo>
                  <a:lnTo>
                    <a:pt x="34" y="1205"/>
                  </a:lnTo>
                  <a:lnTo>
                    <a:pt x="33" y="1245"/>
                  </a:lnTo>
                  <a:lnTo>
                    <a:pt x="34" y="1262"/>
                  </a:lnTo>
                  <a:lnTo>
                    <a:pt x="35" y="1279"/>
                  </a:lnTo>
                  <a:lnTo>
                    <a:pt x="36" y="1297"/>
                  </a:lnTo>
                  <a:lnTo>
                    <a:pt x="38" y="1312"/>
                  </a:lnTo>
                  <a:lnTo>
                    <a:pt x="41" y="1326"/>
                  </a:lnTo>
                  <a:lnTo>
                    <a:pt x="44" y="1340"/>
                  </a:lnTo>
                  <a:lnTo>
                    <a:pt x="48" y="1353"/>
                  </a:lnTo>
                  <a:lnTo>
                    <a:pt x="53" y="1366"/>
                  </a:lnTo>
                  <a:lnTo>
                    <a:pt x="58" y="1377"/>
                  </a:lnTo>
                  <a:lnTo>
                    <a:pt x="64" y="1388"/>
                  </a:lnTo>
                  <a:lnTo>
                    <a:pt x="70" y="1398"/>
                  </a:lnTo>
                  <a:lnTo>
                    <a:pt x="77" y="1407"/>
                  </a:lnTo>
                  <a:lnTo>
                    <a:pt x="85" y="1416"/>
                  </a:lnTo>
                  <a:lnTo>
                    <a:pt x="94" y="1424"/>
                  </a:lnTo>
                  <a:lnTo>
                    <a:pt x="103" y="1431"/>
                  </a:lnTo>
                  <a:lnTo>
                    <a:pt x="114" y="1440"/>
                  </a:lnTo>
                  <a:lnTo>
                    <a:pt x="126" y="1446"/>
                  </a:lnTo>
                  <a:lnTo>
                    <a:pt x="137" y="1452"/>
                  </a:lnTo>
                  <a:lnTo>
                    <a:pt x="150" y="1458"/>
                  </a:lnTo>
                  <a:lnTo>
                    <a:pt x="164" y="1463"/>
                  </a:lnTo>
                  <a:lnTo>
                    <a:pt x="178" y="1468"/>
                  </a:lnTo>
                  <a:lnTo>
                    <a:pt x="193" y="1472"/>
                  </a:lnTo>
                  <a:lnTo>
                    <a:pt x="210" y="1476"/>
                  </a:lnTo>
                  <a:lnTo>
                    <a:pt x="228" y="1480"/>
                  </a:lnTo>
                  <a:lnTo>
                    <a:pt x="265" y="1487"/>
                  </a:lnTo>
                  <a:lnTo>
                    <a:pt x="307" y="1493"/>
                  </a:lnTo>
                  <a:close/>
                  <a:moveTo>
                    <a:pt x="380" y="1170"/>
                  </a:moveTo>
                  <a:lnTo>
                    <a:pt x="416" y="1159"/>
                  </a:lnTo>
                  <a:lnTo>
                    <a:pt x="447" y="1148"/>
                  </a:lnTo>
                  <a:lnTo>
                    <a:pt x="476" y="1137"/>
                  </a:lnTo>
                  <a:lnTo>
                    <a:pt x="503" y="1125"/>
                  </a:lnTo>
                  <a:lnTo>
                    <a:pt x="526" y="1114"/>
                  </a:lnTo>
                  <a:lnTo>
                    <a:pt x="547" y="1102"/>
                  </a:lnTo>
                  <a:lnTo>
                    <a:pt x="557" y="1096"/>
                  </a:lnTo>
                  <a:lnTo>
                    <a:pt x="567" y="1089"/>
                  </a:lnTo>
                  <a:lnTo>
                    <a:pt x="575" y="1082"/>
                  </a:lnTo>
                  <a:lnTo>
                    <a:pt x="582" y="1074"/>
                  </a:lnTo>
                  <a:lnTo>
                    <a:pt x="590" y="1066"/>
                  </a:lnTo>
                  <a:lnTo>
                    <a:pt x="596" y="1057"/>
                  </a:lnTo>
                  <a:lnTo>
                    <a:pt x="602" y="1047"/>
                  </a:lnTo>
                  <a:lnTo>
                    <a:pt x="607" y="1038"/>
                  </a:lnTo>
                  <a:lnTo>
                    <a:pt x="612" y="1028"/>
                  </a:lnTo>
                  <a:lnTo>
                    <a:pt x="616" y="1017"/>
                  </a:lnTo>
                  <a:lnTo>
                    <a:pt x="620" y="1005"/>
                  </a:lnTo>
                  <a:lnTo>
                    <a:pt x="623" y="993"/>
                  </a:lnTo>
                  <a:lnTo>
                    <a:pt x="625" y="979"/>
                  </a:lnTo>
                  <a:lnTo>
                    <a:pt x="627" y="965"/>
                  </a:lnTo>
                  <a:lnTo>
                    <a:pt x="629" y="950"/>
                  </a:lnTo>
                  <a:lnTo>
                    <a:pt x="630" y="934"/>
                  </a:lnTo>
                  <a:lnTo>
                    <a:pt x="630" y="898"/>
                  </a:lnTo>
                  <a:lnTo>
                    <a:pt x="628" y="860"/>
                  </a:lnTo>
                  <a:lnTo>
                    <a:pt x="589" y="866"/>
                  </a:lnTo>
                  <a:lnTo>
                    <a:pt x="552" y="873"/>
                  </a:lnTo>
                  <a:lnTo>
                    <a:pt x="536" y="877"/>
                  </a:lnTo>
                  <a:lnTo>
                    <a:pt x="521" y="881"/>
                  </a:lnTo>
                  <a:lnTo>
                    <a:pt x="507" y="885"/>
                  </a:lnTo>
                  <a:lnTo>
                    <a:pt x="493" y="890"/>
                  </a:lnTo>
                  <a:lnTo>
                    <a:pt x="480" y="895"/>
                  </a:lnTo>
                  <a:lnTo>
                    <a:pt x="468" y="901"/>
                  </a:lnTo>
                  <a:lnTo>
                    <a:pt x="457" y="907"/>
                  </a:lnTo>
                  <a:lnTo>
                    <a:pt x="447" y="914"/>
                  </a:lnTo>
                  <a:lnTo>
                    <a:pt x="437" y="921"/>
                  </a:lnTo>
                  <a:lnTo>
                    <a:pt x="429" y="928"/>
                  </a:lnTo>
                  <a:lnTo>
                    <a:pt x="421" y="936"/>
                  </a:lnTo>
                  <a:lnTo>
                    <a:pt x="413" y="944"/>
                  </a:lnTo>
                  <a:lnTo>
                    <a:pt x="407" y="953"/>
                  </a:lnTo>
                  <a:lnTo>
                    <a:pt x="401" y="963"/>
                  </a:lnTo>
                  <a:lnTo>
                    <a:pt x="396" y="973"/>
                  </a:lnTo>
                  <a:lnTo>
                    <a:pt x="391" y="985"/>
                  </a:lnTo>
                  <a:lnTo>
                    <a:pt x="388" y="996"/>
                  </a:lnTo>
                  <a:lnTo>
                    <a:pt x="384" y="1008"/>
                  </a:lnTo>
                  <a:lnTo>
                    <a:pt x="382" y="1020"/>
                  </a:lnTo>
                  <a:lnTo>
                    <a:pt x="380" y="1034"/>
                  </a:lnTo>
                  <a:lnTo>
                    <a:pt x="378" y="1048"/>
                  </a:lnTo>
                  <a:lnTo>
                    <a:pt x="377" y="1063"/>
                  </a:lnTo>
                  <a:lnTo>
                    <a:pt x="377" y="1079"/>
                  </a:lnTo>
                  <a:lnTo>
                    <a:pt x="377" y="1095"/>
                  </a:lnTo>
                  <a:lnTo>
                    <a:pt x="378" y="1130"/>
                  </a:lnTo>
                  <a:lnTo>
                    <a:pt x="380" y="1170"/>
                  </a:lnTo>
                  <a:close/>
                  <a:moveTo>
                    <a:pt x="308" y="1163"/>
                  </a:moveTo>
                  <a:lnTo>
                    <a:pt x="304" y="1126"/>
                  </a:lnTo>
                  <a:lnTo>
                    <a:pt x="300" y="1093"/>
                  </a:lnTo>
                  <a:lnTo>
                    <a:pt x="296" y="1063"/>
                  </a:lnTo>
                  <a:lnTo>
                    <a:pt x="291" y="1034"/>
                  </a:lnTo>
                  <a:lnTo>
                    <a:pt x="285" y="1009"/>
                  </a:lnTo>
                  <a:lnTo>
                    <a:pt x="277" y="986"/>
                  </a:lnTo>
                  <a:lnTo>
                    <a:pt x="273" y="974"/>
                  </a:lnTo>
                  <a:lnTo>
                    <a:pt x="267" y="964"/>
                  </a:lnTo>
                  <a:lnTo>
                    <a:pt x="262" y="954"/>
                  </a:lnTo>
                  <a:lnTo>
                    <a:pt x="256" y="945"/>
                  </a:lnTo>
                  <a:lnTo>
                    <a:pt x="250" y="937"/>
                  </a:lnTo>
                  <a:lnTo>
                    <a:pt x="243" y="929"/>
                  </a:lnTo>
                  <a:lnTo>
                    <a:pt x="235" y="921"/>
                  </a:lnTo>
                  <a:lnTo>
                    <a:pt x="227" y="914"/>
                  </a:lnTo>
                  <a:lnTo>
                    <a:pt x="218" y="906"/>
                  </a:lnTo>
                  <a:lnTo>
                    <a:pt x="208" y="899"/>
                  </a:lnTo>
                  <a:lnTo>
                    <a:pt x="198" y="893"/>
                  </a:lnTo>
                  <a:lnTo>
                    <a:pt x="185" y="888"/>
                  </a:lnTo>
                  <a:lnTo>
                    <a:pt x="173" y="883"/>
                  </a:lnTo>
                  <a:lnTo>
                    <a:pt x="160" y="878"/>
                  </a:lnTo>
                  <a:lnTo>
                    <a:pt x="145" y="873"/>
                  </a:lnTo>
                  <a:lnTo>
                    <a:pt x="130" y="869"/>
                  </a:lnTo>
                  <a:lnTo>
                    <a:pt x="96" y="862"/>
                  </a:lnTo>
                  <a:lnTo>
                    <a:pt x="57" y="855"/>
                  </a:lnTo>
                  <a:lnTo>
                    <a:pt x="55" y="895"/>
                  </a:lnTo>
                  <a:lnTo>
                    <a:pt x="54" y="932"/>
                  </a:lnTo>
                  <a:lnTo>
                    <a:pt x="55" y="948"/>
                  </a:lnTo>
                  <a:lnTo>
                    <a:pt x="55" y="964"/>
                  </a:lnTo>
                  <a:lnTo>
                    <a:pt x="57" y="979"/>
                  </a:lnTo>
                  <a:lnTo>
                    <a:pt x="59" y="994"/>
                  </a:lnTo>
                  <a:lnTo>
                    <a:pt x="61" y="1008"/>
                  </a:lnTo>
                  <a:lnTo>
                    <a:pt x="64" y="1020"/>
                  </a:lnTo>
                  <a:lnTo>
                    <a:pt x="68" y="1032"/>
                  </a:lnTo>
                  <a:lnTo>
                    <a:pt x="72" y="1044"/>
                  </a:lnTo>
                  <a:lnTo>
                    <a:pt x="76" y="1054"/>
                  </a:lnTo>
                  <a:lnTo>
                    <a:pt x="82" y="1065"/>
                  </a:lnTo>
                  <a:lnTo>
                    <a:pt x="88" y="1074"/>
                  </a:lnTo>
                  <a:lnTo>
                    <a:pt x="94" y="1083"/>
                  </a:lnTo>
                  <a:lnTo>
                    <a:pt x="102" y="1091"/>
                  </a:lnTo>
                  <a:lnTo>
                    <a:pt x="110" y="1099"/>
                  </a:lnTo>
                  <a:lnTo>
                    <a:pt x="118" y="1106"/>
                  </a:lnTo>
                  <a:lnTo>
                    <a:pt x="129" y="1112"/>
                  </a:lnTo>
                  <a:lnTo>
                    <a:pt x="139" y="1118"/>
                  </a:lnTo>
                  <a:lnTo>
                    <a:pt x="150" y="1124"/>
                  </a:lnTo>
                  <a:lnTo>
                    <a:pt x="162" y="1129"/>
                  </a:lnTo>
                  <a:lnTo>
                    <a:pt x="174" y="1135"/>
                  </a:lnTo>
                  <a:lnTo>
                    <a:pt x="188" y="1140"/>
                  </a:lnTo>
                  <a:lnTo>
                    <a:pt x="203" y="1144"/>
                  </a:lnTo>
                  <a:lnTo>
                    <a:pt x="218" y="1148"/>
                  </a:lnTo>
                  <a:lnTo>
                    <a:pt x="234" y="1151"/>
                  </a:lnTo>
                  <a:lnTo>
                    <a:pt x="270" y="1158"/>
                  </a:lnTo>
                  <a:lnTo>
                    <a:pt x="308" y="1163"/>
                  </a:lnTo>
                  <a:close/>
                  <a:moveTo>
                    <a:pt x="344" y="955"/>
                  </a:moveTo>
                  <a:lnTo>
                    <a:pt x="367" y="921"/>
                  </a:lnTo>
                  <a:lnTo>
                    <a:pt x="388" y="888"/>
                  </a:lnTo>
                  <a:lnTo>
                    <a:pt x="407" y="858"/>
                  </a:lnTo>
                  <a:lnTo>
                    <a:pt x="424" y="829"/>
                  </a:lnTo>
                  <a:lnTo>
                    <a:pt x="431" y="816"/>
                  </a:lnTo>
                  <a:lnTo>
                    <a:pt x="437" y="803"/>
                  </a:lnTo>
                  <a:lnTo>
                    <a:pt x="443" y="790"/>
                  </a:lnTo>
                  <a:lnTo>
                    <a:pt x="448" y="778"/>
                  </a:lnTo>
                  <a:lnTo>
                    <a:pt x="452" y="765"/>
                  </a:lnTo>
                  <a:lnTo>
                    <a:pt x="455" y="752"/>
                  </a:lnTo>
                  <a:lnTo>
                    <a:pt x="458" y="740"/>
                  </a:lnTo>
                  <a:lnTo>
                    <a:pt x="459" y="728"/>
                  </a:lnTo>
                  <a:lnTo>
                    <a:pt x="460" y="716"/>
                  </a:lnTo>
                  <a:lnTo>
                    <a:pt x="460" y="704"/>
                  </a:lnTo>
                  <a:lnTo>
                    <a:pt x="459" y="692"/>
                  </a:lnTo>
                  <a:lnTo>
                    <a:pt x="457" y="679"/>
                  </a:lnTo>
                  <a:lnTo>
                    <a:pt x="454" y="667"/>
                  </a:lnTo>
                  <a:lnTo>
                    <a:pt x="450" y="654"/>
                  </a:lnTo>
                  <a:lnTo>
                    <a:pt x="445" y="642"/>
                  </a:lnTo>
                  <a:lnTo>
                    <a:pt x="440" y="629"/>
                  </a:lnTo>
                  <a:lnTo>
                    <a:pt x="433" y="616"/>
                  </a:lnTo>
                  <a:lnTo>
                    <a:pt x="425" y="602"/>
                  </a:lnTo>
                  <a:lnTo>
                    <a:pt x="414" y="588"/>
                  </a:lnTo>
                  <a:lnTo>
                    <a:pt x="404" y="574"/>
                  </a:lnTo>
                  <a:lnTo>
                    <a:pt x="393" y="559"/>
                  </a:lnTo>
                  <a:lnTo>
                    <a:pt x="380" y="544"/>
                  </a:lnTo>
                  <a:lnTo>
                    <a:pt x="367" y="528"/>
                  </a:lnTo>
                  <a:lnTo>
                    <a:pt x="352" y="512"/>
                  </a:lnTo>
                  <a:lnTo>
                    <a:pt x="319" y="546"/>
                  </a:lnTo>
                  <a:lnTo>
                    <a:pt x="292" y="577"/>
                  </a:lnTo>
                  <a:lnTo>
                    <a:pt x="280" y="592"/>
                  </a:lnTo>
                  <a:lnTo>
                    <a:pt x="268" y="606"/>
                  </a:lnTo>
                  <a:lnTo>
                    <a:pt x="258" y="622"/>
                  </a:lnTo>
                  <a:lnTo>
                    <a:pt x="250" y="635"/>
                  </a:lnTo>
                  <a:lnTo>
                    <a:pt x="242" y="649"/>
                  </a:lnTo>
                  <a:lnTo>
                    <a:pt x="235" y="662"/>
                  </a:lnTo>
                  <a:lnTo>
                    <a:pt x="229" y="675"/>
                  </a:lnTo>
                  <a:lnTo>
                    <a:pt x="225" y="689"/>
                  </a:lnTo>
                  <a:lnTo>
                    <a:pt x="221" y="701"/>
                  </a:lnTo>
                  <a:lnTo>
                    <a:pt x="218" y="714"/>
                  </a:lnTo>
                  <a:lnTo>
                    <a:pt x="217" y="726"/>
                  </a:lnTo>
                  <a:lnTo>
                    <a:pt x="216" y="738"/>
                  </a:lnTo>
                  <a:lnTo>
                    <a:pt x="217" y="750"/>
                  </a:lnTo>
                  <a:lnTo>
                    <a:pt x="218" y="764"/>
                  </a:lnTo>
                  <a:lnTo>
                    <a:pt x="221" y="776"/>
                  </a:lnTo>
                  <a:lnTo>
                    <a:pt x="224" y="788"/>
                  </a:lnTo>
                  <a:lnTo>
                    <a:pt x="228" y="800"/>
                  </a:lnTo>
                  <a:lnTo>
                    <a:pt x="234" y="813"/>
                  </a:lnTo>
                  <a:lnTo>
                    <a:pt x="240" y="826"/>
                  </a:lnTo>
                  <a:lnTo>
                    <a:pt x="248" y="839"/>
                  </a:lnTo>
                  <a:lnTo>
                    <a:pt x="256" y="853"/>
                  </a:lnTo>
                  <a:lnTo>
                    <a:pt x="266" y="866"/>
                  </a:lnTo>
                  <a:lnTo>
                    <a:pt x="277" y="880"/>
                  </a:lnTo>
                  <a:lnTo>
                    <a:pt x="288" y="894"/>
                  </a:lnTo>
                  <a:lnTo>
                    <a:pt x="314" y="924"/>
                  </a:lnTo>
                  <a:lnTo>
                    <a:pt x="344" y="955"/>
                  </a:lnTo>
                  <a:close/>
                  <a:moveTo>
                    <a:pt x="365" y="1927"/>
                  </a:moveTo>
                  <a:lnTo>
                    <a:pt x="308" y="1928"/>
                  </a:lnTo>
                  <a:lnTo>
                    <a:pt x="311" y="2271"/>
                  </a:lnTo>
                  <a:lnTo>
                    <a:pt x="367" y="2271"/>
                  </a:lnTo>
                  <a:lnTo>
                    <a:pt x="365" y="1927"/>
                  </a:lnTo>
                  <a:close/>
                  <a:moveTo>
                    <a:pt x="627" y="0"/>
                  </a:moveTo>
                  <a:lnTo>
                    <a:pt x="600" y="0"/>
                  </a:lnTo>
                  <a:lnTo>
                    <a:pt x="596" y="775"/>
                  </a:lnTo>
                  <a:lnTo>
                    <a:pt x="623" y="775"/>
                  </a:lnTo>
                  <a:lnTo>
                    <a:pt x="627" y="0"/>
                  </a:lnTo>
                  <a:close/>
                  <a:moveTo>
                    <a:pt x="78" y="302"/>
                  </a:moveTo>
                  <a:lnTo>
                    <a:pt x="60" y="302"/>
                  </a:lnTo>
                  <a:lnTo>
                    <a:pt x="58" y="814"/>
                  </a:lnTo>
                  <a:lnTo>
                    <a:pt x="75" y="814"/>
                  </a:lnTo>
                  <a:lnTo>
                    <a:pt x="78" y="302"/>
                  </a:lnTo>
                  <a:close/>
                  <a:moveTo>
                    <a:pt x="256" y="201"/>
                  </a:moveTo>
                  <a:lnTo>
                    <a:pt x="245" y="201"/>
                  </a:lnTo>
                  <a:lnTo>
                    <a:pt x="244" y="516"/>
                  </a:lnTo>
                  <a:lnTo>
                    <a:pt x="255" y="516"/>
                  </a:lnTo>
                  <a:lnTo>
                    <a:pt x="256" y="201"/>
                  </a:lnTo>
                  <a:close/>
                  <a:moveTo>
                    <a:pt x="437" y="103"/>
                  </a:moveTo>
                  <a:lnTo>
                    <a:pt x="425" y="103"/>
                  </a:lnTo>
                  <a:lnTo>
                    <a:pt x="424" y="443"/>
                  </a:lnTo>
                  <a:lnTo>
                    <a:pt x="435" y="443"/>
                  </a:lnTo>
                  <a:lnTo>
                    <a:pt x="437" y="103"/>
                  </a:lnTo>
                  <a:close/>
                  <a:moveTo>
                    <a:pt x="296" y="1839"/>
                  </a:moveTo>
                  <a:lnTo>
                    <a:pt x="291" y="1796"/>
                  </a:lnTo>
                  <a:lnTo>
                    <a:pt x="287" y="1758"/>
                  </a:lnTo>
                  <a:lnTo>
                    <a:pt x="282" y="1721"/>
                  </a:lnTo>
                  <a:lnTo>
                    <a:pt x="276" y="1689"/>
                  </a:lnTo>
                  <a:lnTo>
                    <a:pt x="273" y="1674"/>
                  </a:lnTo>
                  <a:lnTo>
                    <a:pt x="268" y="1658"/>
                  </a:lnTo>
                  <a:lnTo>
                    <a:pt x="264" y="1645"/>
                  </a:lnTo>
                  <a:lnTo>
                    <a:pt x="259" y="1632"/>
                  </a:lnTo>
                  <a:lnTo>
                    <a:pt x="254" y="1619"/>
                  </a:lnTo>
                  <a:lnTo>
                    <a:pt x="249" y="1607"/>
                  </a:lnTo>
                  <a:lnTo>
                    <a:pt x="243" y="1596"/>
                  </a:lnTo>
                  <a:lnTo>
                    <a:pt x="236" y="1586"/>
                  </a:lnTo>
                  <a:lnTo>
                    <a:pt x="229" y="1575"/>
                  </a:lnTo>
                  <a:lnTo>
                    <a:pt x="220" y="1565"/>
                  </a:lnTo>
                  <a:lnTo>
                    <a:pt x="212" y="1556"/>
                  </a:lnTo>
                  <a:lnTo>
                    <a:pt x="202" y="1548"/>
                  </a:lnTo>
                  <a:lnTo>
                    <a:pt x="190" y="1540"/>
                  </a:lnTo>
                  <a:lnTo>
                    <a:pt x="179" y="1532"/>
                  </a:lnTo>
                  <a:lnTo>
                    <a:pt x="167" y="1525"/>
                  </a:lnTo>
                  <a:lnTo>
                    <a:pt x="153" y="1519"/>
                  </a:lnTo>
                  <a:lnTo>
                    <a:pt x="139" y="1513"/>
                  </a:lnTo>
                  <a:lnTo>
                    <a:pt x="124" y="1506"/>
                  </a:lnTo>
                  <a:lnTo>
                    <a:pt x="106" y="1501"/>
                  </a:lnTo>
                  <a:lnTo>
                    <a:pt x="88" y="1496"/>
                  </a:lnTo>
                  <a:lnTo>
                    <a:pt x="69" y="1491"/>
                  </a:lnTo>
                  <a:lnTo>
                    <a:pt x="48" y="1487"/>
                  </a:lnTo>
                  <a:lnTo>
                    <a:pt x="26" y="1483"/>
                  </a:lnTo>
                  <a:lnTo>
                    <a:pt x="4" y="1480"/>
                  </a:lnTo>
                  <a:lnTo>
                    <a:pt x="1" y="1527"/>
                  </a:lnTo>
                  <a:lnTo>
                    <a:pt x="0" y="1569"/>
                  </a:lnTo>
                  <a:lnTo>
                    <a:pt x="0" y="1589"/>
                  </a:lnTo>
                  <a:lnTo>
                    <a:pt x="1" y="1608"/>
                  </a:lnTo>
                  <a:lnTo>
                    <a:pt x="3" y="1625"/>
                  </a:lnTo>
                  <a:lnTo>
                    <a:pt x="5" y="1642"/>
                  </a:lnTo>
                  <a:lnTo>
                    <a:pt x="8" y="1657"/>
                  </a:lnTo>
                  <a:lnTo>
                    <a:pt x="11" y="1673"/>
                  </a:lnTo>
                  <a:lnTo>
                    <a:pt x="15" y="1687"/>
                  </a:lnTo>
                  <a:lnTo>
                    <a:pt x="20" y="1700"/>
                  </a:lnTo>
                  <a:lnTo>
                    <a:pt x="26" y="1712"/>
                  </a:lnTo>
                  <a:lnTo>
                    <a:pt x="32" y="1724"/>
                  </a:lnTo>
                  <a:lnTo>
                    <a:pt x="39" y="1736"/>
                  </a:lnTo>
                  <a:lnTo>
                    <a:pt x="47" y="1746"/>
                  </a:lnTo>
                  <a:lnTo>
                    <a:pt x="56" y="1755"/>
                  </a:lnTo>
                  <a:lnTo>
                    <a:pt x="66" y="1764"/>
                  </a:lnTo>
                  <a:lnTo>
                    <a:pt x="76" y="1772"/>
                  </a:lnTo>
                  <a:lnTo>
                    <a:pt x="87" y="1780"/>
                  </a:lnTo>
                  <a:lnTo>
                    <a:pt x="99" y="1787"/>
                  </a:lnTo>
                  <a:lnTo>
                    <a:pt x="111" y="1794"/>
                  </a:lnTo>
                  <a:lnTo>
                    <a:pt x="126" y="1800"/>
                  </a:lnTo>
                  <a:lnTo>
                    <a:pt x="141" y="1805"/>
                  </a:lnTo>
                  <a:lnTo>
                    <a:pt x="156" y="1812"/>
                  </a:lnTo>
                  <a:lnTo>
                    <a:pt x="173" y="1816"/>
                  </a:lnTo>
                  <a:lnTo>
                    <a:pt x="191" y="1821"/>
                  </a:lnTo>
                  <a:lnTo>
                    <a:pt x="210" y="1825"/>
                  </a:lnTo>
                  <a:lnTo>
                    <a:pt x="250" y="1832"/>
                  </a:lnTo>
                  <a:lnTo>
                    <a:pt x="296" y="18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28">
              <a:extLst>
                <a:ext uri="{FF2B5EF4-FFF2-40B4-BE49-F238E27FC236}">
                  <a16:creationId xmlns:a16="http://schemas.microsoft.com/office/drawing/2014/main" id="{31C8454D-C4B8-4FB3-93D1-D1E1C2949716}"/>
                </a:ext>
              </a:extLst>
            </p:cNvPr>
            <p:cNvSpPr>
              <a:spLocks noEditPoints="1"/>
            </p:cNvSpPr>
            <p:nvPr/>
          </p:nvSpPr>
          <p:spPr bwMode="auto">
            <a:xfrm>
              <a:off x="9659938" y="5408613"/>
              <a:ext cx="288925" cy="966788"/>
            </a:xfrm>
            <a:custGeom>
              <a:avLst/>
              <a:gdLst>
                <a:gd name="T0" fmla="*/ 587 w 728"/>
                <a:gd name="T1" fmla="*/ 1288 h 2438"/>
                <a:gd name="T2" fmla="*/ 660 w 728"/>
                <a:gd name="T3" fmla="*/ 1215 h 2438"/>
                <a:gd name="T4" fmla="*/ 699 w 728"/>
                <a:gd name="T5" fmla="*/ 1106 h 2438"/>
                <a:gd name="T6" fmla="*/ 707 w 728"/>
                <a:gd name="T7" fmla="*/ 939 h 2438"/>
                <a:gd name="T8" fmla="*/ 581 w 728"/>
                <a:gd name="T9" fmla="*/ 941 h 2438"/>
                <a:gd name="T10" fmla="*/ 484 w 728"/>
                <a:gd name="T11" fmla="*/ 999 h 2438"/>
                <a:gd name="T12" fmla="*/ 430 w 728"/>
                <a:gd name="T13" fmla="*/ 1094 h 2438"/>
                <a:gd name="T14" fmla="*/ 413 w 728"/>
                <a:gd name="T15" fmla="*/ 1236 h 2438"/>
                <a:gd name="T16" fmla="*/ 318 w 728"/>
                <a:gd name="T17" fmla="*/ 1211 h 2438"/>
                <a:gd name="T18" fmla="*/ 286 w 728"/>
                <a:gd name="T19" fmla="*/ 1064 h 2438"/>
                <a:gd name="T20" fmla="*/ 228 w 728"/>
                <a:gd name="T21" fmla="*/ 978 h 2438"/>
                <a:gd name="T22" fmla="*/ 126 w 728"/>
                <a:gd name="T23" fmla="*/ 922 h 2438"/>
                <a:gd name="T24" fmla="*/ 37 w 728"/>
                <a:gd name="T25" fmla="*/ 1041 h 2438"/>
                <a:gd name="T26" fmla="*/ 58 w 728"/>
                <a:gd name="T27" fmla="*/ 1183 h 2438"/>
                <a:gd name="T28" fmla="*/ 112 w 728"/>
                <a:gd name="T29" fmla="*/ 1275 h 2438"/>
                <a:gd name="T30" fmla="*/ 210 w 728"/>
                <a:gd name="T31" fmla="*/ 1332 h 2438"/>
                <a:gd name="T32" fmla="*/ 413 w 728"/>
                <a:gd name="T33" fmla="*/ 912 h 2438"/>
                <a:gd name="T34" fmla="*/ 582 w 728"/>
                <a:gd name="T35" fmla="*/ 827 h 2438"/>
                <a:gd name="T36" fmla="*/ 646 w 728"/>
                <a:gd name="T37" fmla="*/ 756 h 2438"/>
                <a:gd name="T38" fmla="*/ 678 w 728"/>
                <a:gd name="T39" fmla="*/ 648 h 2438"/>
                <a:gd name="T40" fmla="*/ 681 w 728"/>
                <a:gd name="T41" fmla="*/ 483 h 2438"/>
                <a:gd name="T42" fmla="*/ 548 w 728"/>
                <a:gd name="T43" fmla="*/ 518 h 2438"/>
                <a:gd name="T44" fmla="*/ 464 w 728"/>
                <a:gd name="T45" fmla="*/ 578 h 2438"/>
                <a:gd name="T46" fmla="*/ 421 w 728"/>
                <a:gd name="T47" fmla="*/ 671 h 2438"/>
                <a:gd name="T48" fmla="*/ 408 w 728"/>
                <a:gd name="T49" fmla="*/ 809 h 2438"/>
                <a:gd name="T50" fmla="*/ 315 w 728"/>
                <a:gd name="T51" fmla="*/ 725 h 2438"/>
                <a:gd name="T52" fmla="*/ 285 w 728"/>
                <a:gd name="T53" fmla="*/ 614 h 2438"/>
                <a:gd name="T54" fmla="*/ 226 w 728"/>
                <a:gd name="T55" fmla="*/ 538 h 2438"/>
                <a:gd name="T56" fmla="*/ 123 w 728"/>
                <a:gd name="T57" fmla="*/ 490 h 2438"/>
                <a:gd name="T58" fmla="*/ 60 w 728"/>
                <a:gd name="T59" fmla="*/ 628 h 2438"/>
                <a:gd name="T60" fmla="*/ 83 w 728"/>
                <a:gd name="T61" fmla="*/ 752 h 2438"/>
                <a:gd name="T62" fmla="*/ 140 w 728"/>
                <a:gd name="T63" fmla="*/ 833 h 2438"/>
                <a:gd name="T64" fmla="*/ 236 w 728"/>
                <a:gd name="T65" fmla="*/ 881 h 2438"/>
                <a:gd name="T66" fmla="*/ 441 w 728"/>
                <a:gd name="T67" fmla="*/ 481 h 2438"/>
                <a:gd name="T68" fmla="*/ 494 w 728"/>
                <a:gd name="T69" fmla="*/ 334 h 2438"/>
                <a:gd name="T70" fmla="*/ 493 w 728"/>
                <a:gd name="T71" fmla="*/ 216 h 2438"/>
                <a:gd name="T72" fmla="*/ 439 w 728"/>
                <a:gd name="T73" fmla="*/ 86 h 2438"/>
                <a:gd name="T74" fmla="*/ 330 w 728"/>
                <a:gd name="T75" fmla="*/ 70 h 2438"/>
                <a:gd name="T76" fmla="*/ 255 w 728"/>
                <a:gd name="T77" fmla="*/ 209 h 2438"/>
                <a:gd name="T78" fmla="*/ 235 w 728"/>
                <a:gd name="T79" fmla="*/ 332 h 2438"/>
                <a:gd name="T80" fmla="*/ 269 w 728"/>
                <a:gd name="T81" fmla="*/ 454 h 2438"/>
                <a:gd name="T82" fmla="*/ 395 w 728"/>
                <a:gd name="T83" fmla="*/ 1962 h 2438"/>
                <a:gd name="T84" fmla="*/ 311 w 728"/>
                <a:gd name="T85" fmla="*/ 1726 h 2438"/>
                <a:gd name="T86" fmla="*/ 276 w 728"/>
                <a:gd name="T87" fmla="*/ 1535 h 2438"/>
                <a:gd name="T88" fmla="*/ 219 w 728"/>
                <a:gd name="T89" fmla="*/ 1436 h 2438"/>
                <a:gd name="T90" fmla="*/ 115 w 728"/>
                <a:gd name="T91" fmla="*/ 1371 h 2438"/>
                <a:gd name="T92" fmla="*/ 0 w 728"/>
                <a:gd name="T93" fmla="*/ 1466 h 2438"/>
                <a:gd name="T94" fmla="*/ 17 w 728"/>
                <a:gd name="T95" fmla="*/ 1629 h 2438"/>
                <a:gd name="T96" fmla="*/ 71 w 728"/>
                <a:gd name="T97" fmla="*/ 1735 h 2438"/>
                <a:gd name="T98" fmla="*/ 169 w 728"/>
                <a:gd name="T99" fmla="*/ 1801 h 2438"/>
                <a:gd name="T100" fmla="*/ 320 w 728"/>
                <a:gd name="T101" fmla="*/ 1839 h 2438"/>
                <a:gd name="T102" fmla="*/ 596 w 728"/>
                <a:gd name="T103" fmla="*/ 1761 h 2438"/>
                <a:gd name="T104" fmla="*/ 676 w 728"/>
                <a:gd name="T105" fmla="*/ 1683 h 2438"/>
                <a:gd name="T106" fmla="*/ 719 w 728"/>
                <a:gd name="T107" fmla="*/ 1564 h 2438"/>
                <a:gd name="T108" fmla="*/ 727 w 728"/>
                <a:gd name="T109" fmla="*/ 1382 h 2438"/>
                <a:gd name="T110" fmla="*/ 589 w 728"/>
                <a:gd name="T111" fmla="*/ 1384 h 2438"/>
                <a:gd name="T112" fmla="*/ 484 w 728"/>
                <a:gd name="T113" fmla="*/ 1448 h 2438"/>
                <a:gd name="T114" fmla="*/ 427 w 728"/>
                <a:gd name="T115" fmla="*/ 1551 h 2438"/>
                <a:gd name="T116" fmla="*/ 407 w 728"/>
                <a:gd name="T117" fmla="*/ 1703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8" h="2438">
                  <a:moveTo>
                    <a:pt x="417" y="1371"/>
                  </a:moveTo>
                  <a:lnTo>
                    <a:pt x="457" y="1354"/>
                  </a:lnTo>
                  <a:lnTo>
                    <a:pt x="495" y="1338"/>
                  </a:lnTo>
                  <a:lnTo>
                    <a:pt x="528" y="1322"/>
                  </a:lnTo>
                  <a:lnTo>
                    <a:pt x="559" y="1306"/>
                  </a:lnTo>
                  <a:lnTo>
                    <a:pt x="573" y="1296"/>
                  </a:lnTo>
                  <a:lnTo>
                    <a:pt x="587" y="1288"/>
                  </a:lnTo>
                  <a:lnTo>
                    <a:pt x="599" y="1279"/>
                  </a:lnTo>
                  <a:lnTo>
                    <a:pt x="611" y="1270"/>
                  </a:lnTo>
                  <a:lnTo>
                    <a:pt x="622" y="1260"/>
                  </a:lnTo>
                  <a:lnTo>
                    <a:pt x="634" y="1250"/>
                  </a:lnTo>
                  <a:lnTo>
                    <a:pt x="643" y="1239"/>
                  </a:lnTo>
                  <a:lnTo>
                    <a:pt x="652" y="1228"/>
                  </a:lnTo>
                  <a:lnTo>
                    <a:pt x="660" y="1215"/>
                  </a:lnTo>
                  <a:lnTo>
                    <a:pt x="668" y="1203"/>
                  </a:lnTo>
                  <a:lnTo>
                    <a:pt x="675" y="1189"/>
                  </a:lnTo>
                  <a:lnTo>
                    <a:pt x="681" y="1175"/>
                  </a:lnTo>
                  <a:lnTo>
                    <a:pt x="687" y="1159"/>
                  </a:lnTo>
                  <a:lnTo>
                    <a:pt x="691" y="1142"/>
                  </a:lnTo>
                  <a:lnTo>
                    <a:pt x="696" y="1125"/>
                  </a:lnTo>
                  <a:lnTo>
                    <a:pt x="699" y="1106"/>
                  </a:lnTo>
                  <a:lnTo>
                    <a:pt x="702" y="1087"/>
                  </a:lnTo>
                  <a:lnTo>
                    <a:pt x="705" y="1065"/>
                  </a:lnTo>
                  <a:lnTo>
                    <a:pt x="707" y="1043"/>
                  </a:lnTo>
                  <a:lnTo>
                    <a:pt x="708" y="1019"/>
                  </a:lnTo>
                  <a:lnTo>
                    <a:pt x="708" y="993"/>
                  </a:lnTo>
                  <a:lnTo>
                    <a:pt x="708" y="967"/>
                  </a:lnTo>
                  <a:lnTo>
                    <a:pt x="707" y="939"/>
                  </a:lnTo>
                  <a:lnTo>
                    <a:pt x="706" y="908"/>
                  </a:lnTo>
                  <a:lnTo>
                    <a:pt x="682" y="913"/>
                  </a:lnTo>
                  <a:lnTo>
                    <a:pt x="659" y="917"/>
                  </a:lnTo>
                  <a:lnTo>
                    <a:pt x="638" y="922"/>
                  </a:lnTo>
                  <a:lnTo>
                    <a:pt x="617" y="929"/>
                  </a:lnTo>
                  <a:lnTo>
                    <a:pt x="598" y="935"/>
                  </a:lnTo>
                  <a:lnTo>
                    <a:pt x="581" y="941"/>
                  </a:lnTo>
                  <a:lnTo>
                    <a:pt x="564" y="947"/>
                  </a:lnTo>
                  <a:lnTo>
                    <a:pt x="547" y="955"/>
                  </a:lnTo>
                  <a:lnTo>
                    <a:pt x="533" y="962"/>
                  </a:lnTo>
                  <a:lnTo>
                    <a:pt x="519" y="971"/>
                  </a:lnTo>
                  <a:lnTo>
                    <a:pt x="506" y="979"/>
                  </a:lnTo>
                  <a:lnTo>
                    <a:pt x="495" y="989"/>
                  </a:lnTo>
                  <a:lnTo>
                    <a:pt x="484" y="999"/>
                  </a:lnTo>
                  <a:lnTo>
                    <a:pt x="473" y="1011"/>
                  </a:lnTo>
                  <a:lnTo>
                    <a:pt x="464" y="1023"/>
                  </a:lnTo>
                  <a:lnTo>
                    <a:pt x="455" y="1035"/>
                  </a:lnTo>
                  <a:lnTo>
                    <a:pt x="448" y="1048"/>
                  </a:lnTo>
                  <a:lnTo>
                    <a:pt x="441" y="1063"/>
                  </a:lnTo>
                  <a:lnTo>
                    <a:pt x="435" y="1078"/>
                  </a:lnTo>
                  <a:lnTo>
                    <a:pt x="430" y="1094"/>
                  </a:lnTo>
                  <a:lnTo>
                    <a:pt x="426" y="1111"/>
                  </a:lnTo>
                  <a:lnTo>
                    <a:pt x="422" y="1129"/>
                  </a:lnTo>
                  <a:lnTo>
                    <a:pt x="419" y="1148"/>
                  </a:lnTo>
                  <a:lnTo>
                    <a:pt x="417" y="1168"/>
                  </a:lnTo>
                  <a:lnTo>
                    <a:pt x="415" y="1189"/>
                  </a:lnTo>
                  <a:lnTo>
                    <a:pt x="414" y="1211"/>
                  </a:lnTo>
                  <a:lnTo>
                    <a:pt x="413" y="1236"/>
                  </a:lnTo>
                  <a:lnTo>
                    <a:pt x="413" y="1260"/>
                  </a:lnTo>
                  <a:lnTo>
                    <a:pt x="414" y="1313"/>
                  </a:lnTo>
                  <a:lnTo>
                    <a:pt x="417" y="1371"/>
                  </a:lnTo>
                  <a:close/>
                  <a:moveTo>
                    <a:pt x="332" y="1360"/>
                  </a:moveTo>
                  <a:lnTo>
                    <a:pt x="328" y="1307"/>
                  </a:lnTo>
                  <a:lnTo>
                    <a:pt x="323" y="1257"/>
                  </a:lnTo>
                  <a:lnTo>
                    <a:pt x="318" y="1211"/>
                  </a:lnTo>
                  <a:lnTo>
                    <a:pt x="312" y="1169"/>
                  </a:lnTo>
                  <a:lnTo>
                    <a:pt x="309" y="1149"/>
                  </a:lnTo>
                  <a:lnTo>
                    <a:pt x="305" y="1131"/>
                  </a:lnTo>
                  <a:lnTo>
                    <a:pt x="301" y="1113"/>
                  </a:lnTo>
                  <a:lnTo>
                    <a:pt x="297" y="1096"/>
                  </a:lnTo>
                  <a:lnTo>
                    <a:pt x="292" y="1080"/>
                  </a:lnTo>
                  <a:lnTo>
                    <a:pt x="286" y="1064"/>
                  </a:lnTo>
                  <a:lnTo>
                    <a:pt x="280" y="1050"/>
                  </a:lnTo>
                  <a:lnTo>
                    <a:pt x="273" y="1036"/>
                  </a:lnTo>
                  <a:lnTo>
                    <a:pt x="266" y="1024"/>
                  </a:lnTo>
                  <a:lnTo>
                    <a:pt x="257" y="1011"/>
                  </a:lnTo>
                  <a:lnTo>
                    <a:pt x="248" y="999"/>
                  </a:lnTo>
                  <a:lnTo>
                    <a:pt x="238" y="988"/>
                  </a:lnTo>
                  <a:lnTo>
                    <a:pt x="228" y="978"/>
                  </a:lnTo>
                  <a:lnTo>
                    <a:pt x="216" y="969"/>
                  </a:lnTo>
                  <a:lnTo>
                    <a:pt x="204" y="960"/>
                  </a:lnTo>
                  <a:lnTo>
                    <a:pt x="191" y="951"/>
                  </a:lnTo>
                  <a:lnTo>
                    <a:pt x="175" y="944"/>
                  </a:lnTo>
                  <a:lnTo>
                    <a:pt x="160" y="936"/>
                  </a:lnTo>
                  <a:lnTo>
                    <a:pt x="143" y="930"/>
                  </a:lnTo>
                  <a:lnTo>
                    <a:pt x="126" y="922"/>
                  </a:lnTo>
                  <a:lnTo>
                    <a:pt x="106" y="917"/>
                  </a:lnTo>
                  <a:lnTo>
                    <a:pt x="85" y="911"/>
                  </a:lnTo>
                  <a:lnTo>
                    <a:pt x="64" y="906"/>
                  </a:lnTo>
                  <a:lnTo>
                    <a:pt x="40" y="902"/>
                  </a:lnTo>
                  <a:lnTo>
                    <a:pt x="37" y="962"/>
                  </a:lnTo>
                  <a:lnTo>
                    <a:pt x="36" y="1016"/>
                  </a:lnTo>
                  <a:lnTo>
                    <a:pt x="37" y="1041"/>
                  </a:lnTo>
                  <a:lnTo>
                    <a:pt x="38" y="1065"/>
                  </a:lnTo>
                  <a:lnTo>
                    <a:pt x="39" y="1088"/>
                  </a:lnTo>
                  <a:lnTo>
                    <a:pt x="41" y="1109"/>
                  </a:lnTo>
                  <a:lnTo>
                    <a:pt x="45" y="1129"/>
                  </a:lnTo>
                  <a:lnTo>
                    <a:pt x="49" y="1148"/>
                  </a:lnTo>
                  <a:lnTo>
                    <a:pt x="53" y="1166"/>
                  </a:lnTo>
                  <a:lnTo>
                    <a:pt x="58" y="1183"/>
                  </a:lnTo>
                  <a:lnTo>
                    <a:pt x="63" y="1199"/>
                  </a:lnTo>
                  <a:lnTo>
                    <a:pt x="69" y="1214"/>
                  </a:lnTo>
                  <a:lnTo>
                    <a:pt x="76" y="1229"/>
                  </a:lnTo>
                  <a:lnTo>
                    <a:pt x="84" y="1241"/>
                  </a:lnTo>
                  <a:lnTo>
                    <a:pt x="93" y="1254"/>
                  </a:lnTo>
                  <a:lnTo>
                    <a:pt x="102" y="1265"/>
                  </a:lnTo>
                  <a:lnTo>
                    <a:pt x="112" y="1275"/>
                  </a:lnTo>
                  <a:lnTo>
                    <a:pt x="124" y="1285"/>
                  </a:lnTo>
                  <a:lnTo>
                    <a:pt x="136" y="1294"/>
                  </a:lnTo>
                  <a:lnTo>
                    <a:pt x="149" y="1304"/>
                  </a:lnTo>
                  <a:lnTo>
                    <a:pt x="162" y="1312"/>
                  </a:lnTo>
                  <a:lnTo>
                    <a:pt x="177" y="1319"/>
                  </a:lnTo>
                  <a:lnTo>
                    <a:pt x="194" y="1325"/>
                  </a:lnTo>
                  <a:lnTo>
                    <a:pt x="210" y="1332"/>
                  </a:lnTo>
                  <a:lnTo>
                    <a:pt x="228" y="1337"/>
                  </a:lnTo>
                  <a:lnTo>
                    <a:pt x="246" y="1343"/>
                  </a:lnTo>
                  <a:lnTo>
                    <a:pt x="267" y="1347"/>
                  </a:lnTo>
                  <a:lnTo>
                    <a:pt x="288" y="1352"/>
                  </a:lnTo>
                  <a:lnTo>
                    <a:pt x="309" y="1356"/>
                  </a:lnTo>
                  <a:lnTo>
                    <a:pt x="332" y="1360"/>
                  </a:lnTo>
                  <a:close/>
                  <a:moveTo>
                    <a:pt x="413" y="912"/>
                  </a:moveTo>
                  <a:lnTo>
                    <a:pt x="450" y="897"/>
                  </a:lnTo>
                  <a:lnTo>
                    <a:pt x="485" y="882"/>
                  </a:lnTo>
                  <a:lnTo>
                    <a:pt x="516" y="867"/>
                  </a:lnTo>
                  <a:lnTo>
                    <a:pt x="544" y="852"/>
                  </a:lnTo>
                  <a:lnTo>
                    <a:pt x="558" y="843"/>
                  </a:lnTo>
                  <a:lnTo>
                    <a:pt x="571" y="835"/>
                  </a:lnTo>
                  <a:lnTo>
                    <a:pt x="582" y="827"/>
                  </a:lnTo>
                  <a:lnTo>
                    <a:pt x="593" y="819"/>
                  </a:lnTo>
                  <a:lnTo>
                    <a:pt x="604" y="810"/>
                  </a:lnTo>
                  <a:lnTo>
                    <a:pt x="613" y="800"/>
                  </a:lnTo>
                  <a:lnTo>
                    <a:pt x="622" y="790"/>
                  </a:lnTo>
                  <a:lnTo>
                    <a:pt x="631" y="780"/>
                  </a:lnTo>
                  <a:lnTo>
                    <a:pt x="639" y="768"/>
                  </a:lnTo>
                  <a:lnTo>
                    <a:pt x="646" y="756"/>
                  </a:lnTo>
                  <a:lnTo>
                    <a:pt x="653" y="743"/>
                  </a:lnTo>
                  <a:lnTo>
                    <a:pt x="658" y="730"/>
                  </a:lnTo>
                  <a:lnTo>
                    <a:pt x="663" y="716"/>
                  </a:lnTo>
                  <a:lnTo>
                    <a:pt x="668" y="701"/>
                  </a:lnTo>
                  <a:lnTo>
                    <a:pt x="672" y="684"/>
                  </a:lnTo>
                  <a:lnTo>
                    <a:pt x="675" y="666"/>
                  </a:lnTo>
                  <a:lnTo>
                    <a:pt x="678" y="648"/>
                  </a:lnTo>
                  <a:lnTo>
                    <a:pt x="680" y="629"/>
                  </a:lnTo>
                  <a:lnTo>
                    <a:pt x="682" y="607"/>
                  </a:lnTo>
                  <a:lnTo>
                    <a:pt x="683" y="585"/>
                  </a:lnTo>
                  <a:lnTo>
                    <a:pt x="683" y="562"/>
                  </a:lnTo>
                  <a:lnTo>
                    <a:pt x="683" y="536"/>
                  </a:lnTo>
                  <a:lnTo>
                    <a:pt x="682" y="510"/>
                  </a:lnTo>
                  <a:lnTo>
                    <a:pt x="681" y="483"/>
                  </a:lnTo>
                  <a:lnTo>
                    <a:pt x="659" y="487"/>
                  </a:lnTo>
                  <a:lnTo>
                    <a:pt x="638" y="491"/>
                  </a:lnTo>
                  <a:lnTo>
                    <a:pt x="618" y="496"/>
                  </a:lnTo>
                  <a:lnTo>
                    <a:pt x="599" y="501"/>
                  </a:lnTo>
                  <a:lnTo>
                    <a:pt x="581" y="506"/>
                  </a:lnTo>
                  <a:lnTo>
                    <a:pt x="565" y="512"/>
                  </a:lnTo>
                  <a:lnTo>
                    <a:pt x="548" y="518"/>
                  </a:lnTo>
                  <a:lnTo>
                    <a:pt x="534" y="525"/>
                  </a:lnTo>
                  <a:lnTo>
                    <a:pt x="520" y="532"/>
                  </a:lnTo>
                  <a:lnTo>
                    <a:pt x="507" y="540"/>
                  </a:lnTo>
                  <a:lnTo>
                    <a:pt x="496" y="548"/>
                  </a:lnTo>
                  <a:lnTo>
                    <a:pt x="485" y="558"/>
                  </a:lnTo>
                  <a:lnTo>
                    <a:pt x="474" y="567"/>
                  </a:lnTo>
                  <a:lnTo>
                    <a:pt x="464" y="578"/>
                  </a:lnTo>
                  <a:lnTo>
                    <a:pt x="456" y="588"/>
                  </a:lnTo>
                  <a:lnTo>
                    <a:pt x="448" y="600"/>
                  </a:lnTo>
                  <a:lnTo>
                    <a:pt x="441" y="612"/>
                  </a:lnTo>
                  <a:lnTo>
                    <a:pt x="435" y="626"/>
                  </a:lnTo>
                  <a:lnTo>
                    <a:pt x="430" y="640"/>
                  </a:lnTo>
                  <a:lnTo>
                    <a:pt x="425" y="655"/>
                  </a:lnTo>
                  <a:lnTo>
                    <a:pt x="421" y="671"/>
                  </a:lnTo>
                  <a:lnTo>
                    <a:pt x="417" y="687"/>
                  </a:lnTo>
                  <a:lnTo>
                    <a:pt x="414" y="706"/>
                  </a:lnTo>
                  <a:lnTo>
                    <a:pt x="412" y="724"/>
                  </a:lnTo>
                  <a:lnTo>
                    <a:pt x="410" y="744"/>
                  </a:lnTo>
                  <a:lnTo>
                    <a:pt x="408" y="764"/>
                  </a:lnTo>
                  <a:lnTo>
                    <a:pt x="408" y="787"/>
                  </a:lnTo>
                  <a:lnTo>
                    <a:pt x="408" y="809"/>
                  </a:lnTo>
                  <a:lnTo>
                    <a:pt x="410" y="859"/>
                  </a:lnTo>
                  <a:lnTo>
                    <a:pt x="413" y="912"/>
                  </a:lnTo>
                  <a:close/>
                  <a:moveTo>
                    <a:pt x="333" y="903"/>
                  </a:moveTo>
                  <a:lnTo>
                    <a:pt x="329" y="853"/>
                  </a:lnTo>
                  <a:lnTo>
                    <a:pt x="325" y="806"/>
                  </a:lnTo>
                  <a:lnTo>
                    <a:pt x="320" y="763"/>
                  </a:lnTo>
                  <a:lnTo>
                    <a:pt x="315" y="725"/>
                  </a:lnTo>
                  <a:lnTo>
                    <a:pt x="312" y="707"/>
                  </a:lnTo>
                  <a:lnTo>
                    <a:pt x="308" y="689"/>
                  </a:lnTo>
                  <a:lnTo>
                    <a:pt x="304" y="672"/>
                  </a:lnTo>
                  <a:lnTo>
                    <a:pt x="300" y="657"/>
                  </a:lnTo>
                  <a:lnTo>
                    <a:pt x="296" y="642"/>
                  </a:lnTo>
                  <a:lnTo>
                    <a:pt x="290" y="628"/>
                  </a:lnTo>
                  <a:lnTo>
                    <a:pt x="285" y="614"/>
                  </a:lnTo>
                  <a:lnTo>
                    <a:pt x="279" y="601"/>
                  </a:lnTo>
                  <a:lnTo>
                    <a:pt x="272" y="589"/>
                  </a:lnTo>
                  <a:lnTo>
                    <a:pt x="264" y="578"/>
                  </a:lnTo>
                  <a:lnTo>
                    <a:pt x="255" y="567"/>
                  </a:lnTo>
                  <a:lnTo>
                    <a:pt x="246" y="557"/>
                  </a:lnTo>
                  <a:lnTo>
                    <a:pt x="236" y="547"/>
                  </a:lnTo>
                  <a:lnTo>
                    <a:pt x="226" y="538"/>
                  </a:lnTo>
                  <a:lnTo>
                    <a:pt x="214" y="530"/>
                  </a:lnTo>
                  <a:lnTo>
                    <a:pt x="202" y="522"/>
                  </a:lnTo>
                  <a:lnTo>
                    <a:pt x="187" y="515"/>
                  </a:lnTo>
                  <a:lnTo>
                    <a:pt x="173" y="508"/>
                  </a:lnTo>
                  <a:lnTo>
                    <a:pt x="157" y="502"/>
                  </a:lnTo>
                  <a:lnTo>
                    <a:pt x="141" y="496"/>
                  </a:lnTo>
                  <a:lnTo>
                    <a:pt x="123" y="490"/>
                  </a:lnTo>
                  <a:lnTo>
                    <a:pt x="104" y="485"/>
                  </a:lnTo>
                  <a:lnTo>
                    <a:pt x="83" y="481"/>
                  </a:lnTo>
                  <a:lnTo>
                    <a:pt x="62" y="477"/>
                  </a:lnTo>
                  <a:lnTo>
                    <a:pt x="60" y="532"/>
                  </a:lnTo>
                  <a:lnTo>
                    <a:pt x="59" y="582"/>
                  </a:lnTo>
                  <a:lnTo>
                    <a:pt x="59" y="605"/>
                  </a:lnTo>
                  <a:lnTo>
                    <a:pt x="60" y="628"/>
                  </a:lnTo>
                  <a:lnTo>
                    <a:pt x="62" y="649"/>
                  </a:lnTo>
                  <a:lnTo>
                    <a:pt x="64" y="669"/>
                  </a:lnTo>
                  <a:lnTo>
                    <a:pt x="66" y="687"/>
                  </a:lnTo>
                  <a:lnTo>
                    <a:pt x="69" y="706"/>
                  </a:lnTo>
                  <a:lnTo>
                    <a:pt x="73" y="722"/>
                  </a:lnTo>
                  <a:lnTo>
                    <a:pt x="78" y="738"/>
                  </a:lnTo>
                  <a:lnTo>
                    <a:pt x="83" y="752"/>
                  </a:lnTo>
                  <a:lnTo>
                    <a:pt x="89" y="766"/>
                  </a:lnTo>
                  <a:lnTo>
                    <a:pt x="95" y="780"/>
                  </a:lnTo>
                  <a:lnTo>
                    <a:pt x="102" y="792"/>
                  </a:lnTo>
                  <a:lnTo>
                    <a:pt x="110" y="803"/>
                  </a:lnTo>
                  <a:lnTo>
                    <a:pt x="120" y="814"/>
                  </a:lnTo>
                  <a:lnTo>
                    <a:pt x="129" y="824"/>
                  </a:lnTo>
                  <a:lnTo>
                    <a:pt x="140" y="833"/>
                  </a:lnTo>
                  <a:lnTo>
                    <a:pt x="151" y="841"/>
                  </a:lnTo>
                  <a:lnTo>
                    <a:pt x="163" y="849"/>
                  </a:lnTo>
                  <a:lnTo>
                    <a:pt x="175" y="857"/>
                  </a:lnTo>
                  <a:lnTo>
                    <a:pt x="189" y="864"/>
                  </a:lnTo>
                  <a:lnTo>
                    <a:pt x="204" y="870"/>
                  </a:lnTo>
                  <a:lnTo>
                    <a:pt x="220" y="876"/>
                  </a:lnTo>
                  <a:lnTo>
                    <a:pt x="236" y="881"/>
                  </a:lnTo>
                  <a:lnTo>
                    <a:pt x="253" y="886"/>
                  </a:lnTo>
                  <a:lnTo>
                    <a:pt x="292" y="895"/>
                  </a:lnTo>
                  <a:lnTo>
                    <a:pt x="333" y="903"/>
                  </a:lnTo>
                  <a:close/>
                  <a:moveTo>
                    <a:pt x="373" y="614"/>
                  </a:moveTo>
                  <a:lnTo>
                    <a:pt x="398" y="567"/>
                  </a:lnTo>
                  <a:lnTo>
                    <a:pt x="421" y="522"/>
                  </a:lnTo>
                  <a:lnTo>
                    <a:pt x="441" y="481"/>
                  </a:lnTo>
                  <a:lnTo>
                    <a:pt x="459" y="441"/>
                  </a:lnTo>
                  <a:lnTo>
                    <a:pt x="466" y="423"/>
                  </a:lnTo>
                  <a:lnTo>
                    <a:pt x="473" y="404"/>
                  </a:lnTo>
                  <a:lnTo>
                    <a:pt x="479" y="386"/>
                  </a:lnTo>
                  <a:lnTo>
                    <a:pt x="486" y="368"/>
                  </a:lnTo>
                  <a:lnTo>
                    <a:pt x="490" y="351"/>
                  </a:lnTo>
                  <a:lnTo>
                    <a:pt x="494" y="334"/>
                  </a:lnTo>
                  <a:lnTo>
                    <a:pt x="496" y="317"/>
                  </a:lnTo>
                  <a:lnTo>
                    <a:pt x="498" y="300"/>
                  </a:lnTo>
                  <a:lnTo>
                    <a:pt x="499" y="284"/>
                  </a:lnTo>
                  <a:lnTo>
                    <a:pt x="499" y="267"/>
                  </a:lnTo>
                  <a:lnTo>
                    <a:pt x="498" y="249"/>
                  </a:lnTo>
                  <a:lnTo>
                    <a:pt x="496" y="233"/>
                  </a:lnTo>
                  <a:lnTo>
                    <a:pt x="493" y="216"/>
                  </a:lnTo>
                  <a:lnTo>
                    <a:pt x="488" y="199"/>
                  </a:lnTo>
                  <a:lnTo>
                    <a:pt x="482" y="181"/>
                  </a:lnTo>
                  <a:lnTo>
                    <a:pt x="476" y="163"/>
                  </a:lnTo>
                  <a:lnTo>
                    <a:pt x="468" y="145"/>
                  </a:lnTo>
                  <a:lnTo>
                    <a:pt x="460" y="126"/>
                  </a:lnTo>
                  <a:lnTo>
                    <a:pt x="450" y="107"/>
                  </a:lnTo>
                  <a:lnTo>
                    <a:pt x="439" y="86"/>
                  </a:lnTo>
                  <a:lnTo>
                    <a:pt x="426" y="66"/>
                  </a:lnTo>
                  <a:lnTo>
                    <a:pt x="413" y="45"/>
                  </a:lnTo>
                  <a:lnTo>
                    <a:pt x="397" y="23"/>
                  </a:lnTo>
                  <a:lnTo>
                    <a:pt x="381" y="0"/>
                  </a:lnTo>
                  <a:lnTo>
                    <a:pt x="363" y="24"/>
                  </a:lnTo>
                  <a:lnTo>
                    <a:pt x="347" y="48"/>
                  </a:lnTo>
                  <a:lnTo>
                    <a:pt x="330" y="70"/>
                  </a:lnTo>
                  <a:lnTo>
                    <a:pt x="316" y="91"/>
                  </a:lnTo>
                  <a:lnTo>
                    <a:pt x="303" y="112"/>
                  </a:lnTo>
                  <a:lnTo>
                    <a:pt x="292" y="133"/>
                  </a:lnTo>
                  <a:lnTo>
                    <a:pt x="281" y="152"/>
                  </a:lnTo>
                  <a:lnTo>
                    <a:pt x="271" y="171"/>
                  </a:lnTo>
                  <a:lnTo>
                    <a:pt x="262" y="191"/>
                  </a:lnTo>
                  <a:lnTo>
                    <a:pt x="255" y="209"/>
                  </a:lnTo>
                  <a:lnTo>
                    <a:pt x="248" y="227"/>
                  </a:lnTo>
                  <a:lnTo>
                    <a:pt x="243" y="245"/>
                  </a:lnTo>
                  <a:lnTo>
                    <a:pt x="239" y="263"/>
                  </a:lnTo>
                  <a:lnTo>
                    <a:pt x="237" y="280"/>
                  </a:lnTo>
                  <a:lnTo>
                    <a:pt x="235" y="297"/>
                  </a:lnTo>
                  <a:lnTo>
                    <a:pt x="234" y="314"/>
                  </a:lnTo>
                  <a:lnTo>
                    <a:pt x="235" y="332"/>
                  </a:lnTo>
                  <a:lnTo>
                    <a:pt x="236" y="349"/>
                  </a:lnTo>
                  <a:lnTo>
                    <a:pt x="239" y="366"/>
                  </a:lnTo>
                  <a:lnTo>
                    <a:pt x="243" y="383"/>
                  </a:lnTo>
                  <a:lnTo>
                    <a:pt x="247" y="401"/>
                  </a:lnTo>
                  <a:lnTo>
                    <a:pt x="253" y="418"/>
                  </a:lnTo>
                  <a:lnTo>
                    <a:pt x="260" y="436"/>
                  </a:lnTo>
                  <a:lnTo>
                    <a:pt x="269" y="454"/>
                  </a:lnTo>
                  <a:lnTo>
                    <a:pt x="278" y="472"/>
                  </a:lnTo>
                  <a:lnTo>
                    <a:pt x="289" y="492"/>
                  </a:lnTo>
                  <a:lnTo>
                    <a:pt x="300" y="510"/>
                  </a:lnTo>
                  <a:lnTo>
                    <a:pt x="312" y="530"/>
                  </a:lnTo>
                  <a:lnTo>
                    <a:pt x="341" y="571"/>
                  </a:lnTo>
                  <a:lnTo>
                    <a:pt x="373" y="614"/>
                  </a:lnTo>
                  <a:close/>
                  <a:moveTo>
                    <a:pt x="395" y="1962"/>
                  </a:moveTo>
                  <a:lnTo>
                    <a:pt x="334" y="1962"/>
                  </a:lnTo>
                  <a:lnTo>
                    <a:pt x="337" y="2438"/>
                  </a:lnTo>
                  <a:lnTo>
                    <a:pt x="398" y="2437"/>
                  </a:lnTo>
                  <a:lnTo>
                    <a:pt x="395" y="1962"/>
                  </a:lnTo>
                  <a:close/>
                  <a:moveTo>
                    <a:pt x="320" y="1839"/>
                  </a:moveTo>
                  <a:lnTo>
                    <a:pt x="316" y="1781"/>
                  </a:lnTo>
                  <a:lnTo>
                    <a:pt x="311" y="1726"/>
                  </a:lnTo>
                  <a:lnTo>
                    <a:pt x="305" y="1677"/>
                  </a:lnTo>
                  <a:lnTo>
                    <a:pt x="299" y="1632"/>
                  </a:lnTo>
                  <a:lnTo>
                    <a:pt x="295" y="1611"/>
                  </a:lnTo>
                  <a:lnTo>
                    <a:pt x="291" y="1590"/>
                  </a:lnTo>
                  <a:lnTo>
                    <a:pt x="287" y="1571"/>
                  </a:lnTo>
                  <a:lnTo>
                    <a:pt x="282" y="1553"/>
                  </a:lnTo>
                  <a:lnTo>
                    <a:pt x="276" y="1535"/>
                  </a:lnTo>
                  <a:lnTo>
                    <a:pt x="270" y="1518"/>
                  </a:lnTo>
                  <a:lnTo>
                    <a:pt x="264" y="1503"/>
                  </a:lnTo>
                  <a:lnTo>
                    <a:pt x="255" y="1488"/>
                  </a:lnTo>
                  <a:lnTo>
                    <a:pt x="247" y="1474"/>
                  </a:lnTo>
                  <a:lnTo>
                    <a:pt x="239" y="1461"/>
                  </a:lnTo>
                  <a:lnTo>
                    <a:pt x="229" y="1447"/>
                  </a:lnTo>
                  <a:lnTo>
                    <a:pt x="219" y="1436"/>
                  </a:lnTo>
                  <a:lnTo>
                    <a:pt x="207" y="1425"/>
                  </a:lnTo>
                  <a:lnTo>
                    <a:pt x="195" y="1414"/>
                  </a:lnTo>
                  <a:lnTo>
                    <a:pt x="181" y="1405"/>
                  </a:lnTo>
                  <a:lnTo>
                    <a:pt x="166" y="1396"/>
                  </a:lnTo>
                  <a:lnTo>
                    <a:pt x="151" y="1387"/>
                  </a:lnTo>
                  <a:lnTo>
                    <a:pt x="134" y="1379"/>
                  </a:lnTo>
                  <a:lnTo>
                    <a:pt x="115" y="1371"/>
                  </a:lnTo>
                  <a:lnTo>
                    <a:pt x="96" y="1364"/>
                  </a:lnTo>
                  <a:lnTo>
                    <a:pt x="75" y="1358"/>
                  </a:lnTo>
                  <a:lnTo>
                    <a:pt x="53" y="1352"/>
                  </a:lnTo>
                  <a:lnTo>
                    <a:pt x="29" y="1347"/>
                  </a:lnTo>
                  <a:lnTo>
                    <a:pt x="4" y="1342"/>
                  </a:lnTo>
                  <a:lnTo>
                    <a:pt x="1" y="1407"/>
                  </a:lnTo>
                  <a:lnTo>
                    <a:pt x="0" y="1466"/>
                  </a:lnTo>
                  <a:lnTo>
                    <a:pt x="0" y="1493"/>
                  </a:lnTo>
                  <a:lnTo>
                    <a:pt x="2" y="1518"/>
                  </a:lnTo>
                  <a:lnTo>
                    <a:pt x="3" y="1543"/>
                  </a:lnTo>
                  <a:lnTo>
                    <a:pt x="6" y="1566"/>
                  </a:lnTo>
                  <a:lnTo>
                    <a:pt x="9" y="1588"/>
                  </a:lnTo>
                  <a:lnTo>
                    <a:pt x="12" y="1609"/>
                  </a:lnTo>
                  <a:lnTo>
                    <a:pt x="17" y="1629"/>
                  </a:lnTo>
                  <a:lnTo>
                    <a:pt x="22" y="1647"/>
                  </a:lnTo>
                  <a:lnTo>
                    <a:pt x="28" y="1664"/>
                  </a:lnTo>
                  <a:lnTo>
                    <a:pt x="35" y="1681"/>
                  </a:lnTo>
                  <a:lnTo>
                    <a:pt x="42" y="1696"/>
                  </a:lnTo>
                  <a:lnTo>
                    <a:pt x="52" y="1710"/>
                  </a:lnTo>
                  <a:lnTo>
                    <a:pt x="61" y="1723"/>
                  </a:lnTo>
                  <a:lnTo>
                    <a:pt x="71" y="1735"/>
                  </a:lnTo>
                  <a:lnTo>
                    <a:pt x="82" y="1747"/>
                  </a:lnTo>
                  <a:lnTo>
                    <a:pt x="94" y="1758"/>
                  </a:lnTo>
                  <a:lnTo>
                    <a:pt x="107" y="1768"/>
                  </a:lnTo>
                  <a:lnTo>
                    <a:pt x="122" y="1777"/>
                  </a:lnTo>
                  <a:lnTo>
                    <a:pt x="137" y="1786"/>
                  </a:lnTo>
                  <a:lnTo>
                    <a:pt x="152" y="1794"/>
                  </a:lnTo>
                  <a:lnTo>
                    <a:pt x="169" y="1801"/>
                  </a:lnTo>
                  <a:lnTo>
                    <a:pt x="187" y="1807"/>
                  </a:lnTo>
                  <a:lnTo>
                    <a:pt x="207" y="1814"/>
                  </a:lnTo>
                  <a:lnTo>
                    <a:pt x="227" y="1819"/>
                  </a:lnTo>
                  <a:lnTo>
                    <a:pt x="249" y="1825"/>
                  </a:lnTo>
                  <a:lnTo>
                    <a:pt x="272" y="1831"/>
                  </a:lnTo>
                  <a:lnTo>
                    <a:pt x="296" y="1835"/>
                  </a:lnTo>
                  <a:lnTo>
                    <a:pt x="320" y="1839"/>
                  </a:lnTo>
                  <a:close/>
                  <a:moveTo>
                    <a:pt x="413" y="1851"/>
                  </a:moveTo>
                  <a:lnTo>
                    <a:pt x="456" y="1832"/>
                  </a:lnTo>
                  <a:lnTo>
                    <a:pt x="496" y="1814"/>
                  </a:lnTo>
                  <a:lnTo>
                    <a:pt x="533" y="1797"/>
                  </a:lnTo>
                  <a:lnTo>
                    <a:pt x="566" y="1779"/>
                  </a:lnTo>
                  <a:lnTo>
                    <a:pt x="582" y="1770"/>
                  </a:lnTo>
                  <a:lnTo>
                    <a:pt x="596" y="1761"/>
                  </a:lnTo>
                  <a:lnTo>
                    <a:pt x="610" y="1752"/>
                  </a:lnTo>
                  <a:lnTo>
                    <a:pt x="622" y="1741"/>
                  </a:lnTo>
                  <a:lnTo>
                    <a:pt x="635" y="1730"/>
                  </a:lnTo>
                  <a:lnTo>
                    <a:pt x="647" y="1719"/>
                  </a:lnTo>
                  <a:lnTo>
                    <a:pt x="657" y="1708"/>
                  </a:lnTo>
                  <a:lnTo>
                    <a:pt x="667" y="1695"/>
                  </a:lnTo>
                  <a:lnTo>
                    <a:pt x="676" y="1683"/>
                  </a:lnTo>
                  <a:lnTo>
                    <a:pt x="684" y="1668"/>
                  </a:lnTo>
                  <a:lnTo>
                    <a:pt x="691" y="1653"/>
                  </a:lnTo>
                  <a:lnTo>
                    <a:pt x="698" y="1638"/>
                  </a:lnTo>
                  <a:lnTo>
                    <a:pt x="705" y="1621"/>
                  </a:lnTo>
                  <a:lnTo>
                    <a:pt x="710" y="1603"/>
                  </a:lnTo>
                  <a:lnTo>
                    <a:pt x="715" y="1584"/>
                  </a:lnTo>
                  <a:lnTo>
                    <a:pt x="719" y="1564"/>
                  </a:lnTo>
                  <a:lnTo>
                    <a:pt x="722" y="1542"/>
                  </a:lnTo>
                  <a:lnTo>
                    <a:pt x="724" y="1519"/>
                  </a:lnTo>
                  <a:lnTo>
                    <a:pt x="726" y="1495"/>
                  </a:lnTo>
                  <a:lnTo>
                    <a:pt x="727" y="1469"/>
                  </a:lnTo>
                  <a:lnTo>
                    <a:pt x="728" y="1441"/>
                  </a:lnTo>
                  <a:lnTo>
                    <a:pt x="728" y="1413"/>
                  </a:lnTo>
                  <a:lnTo>
                    <a:pt x="727" y="1382"/>
                  </a:lnTo>
                  <a:lnTo>
                    <a:pt x="725" y="1349"/>
                  </a:lnTo>
                  <a:lnTo>
                    <a:pt x="699" y="1354"/>
                  </a:lnTo>
                  <a:lnTo>
                    <a:pt x="675" y="1359"/>
                  </a:lnTo>
                  <a:lnTo>
                    <a:pt x="652" y="1364"/>
                  </a:lnTo>
                  <a:lnTo>
                    <a:pt x="630" y="1370"/>
                  </a:lnTo>
                  <a:lnTo>
                    <a:pt x="609" y="1378"/>
                  </a:lnTo>
                  <a:lnTo>
                    <a:pt x="589" y="1384"/>
                  </a:lnTo>
                  <a:lnTo>
                    <a:pt x="571" y="1391"/>
                  </a:lnTo>
                  <a:lnTo>
                    <a:pt x="553" y="1399"/>
                  </a:lnTo>
                  <a:lnTo>
                    <a:pt x="537" y="1408"/>
                  </a:lnTo>
                  <a:lnTo>
                    <a:pt x="523" y="1417"/>
                  </a:lnTo>
                  <a:lnTo>
                    <a:pt x="509" y="1426"/>
                  </a:lnTo>
                  <a:lnTo>
                    <a:pt x="496" y="1437"/>
                  </a:lnTo>
                  <a:lnTo>
                    <a:pt x="484" y="1448"/>
                  </a:lnTo>
                  <a:lnTo>
                    <a:pt x="473" y="1460"/>
                  </a:lnTo>
                  <a:lnTo>
                    <a:pt x="463" y="1473"/>
                  </a:lnTo>
                  <a:lnTo>
                    <a:pt x="454" y="1487"/>
                  </a:lnTo>
                  <a:lnTo>
                    <a:pt x="446" y="1501"/>
                  </a:lnTo>
                  <a:lnTo>
                    <a:pt x="438" y="1516"/>
                  </a:lnTo>
                  <a:lnTo>
                    <a:pt x="432" y="1533"/>
                  </a:lnTo>
                  <a:lnTo>
                    <a:pt x="427" y="1551"/>
                  </a:lnTo>
                  <a:lnTo>
                    <a:pt x="422" y="1569"/>
                  </a:lnTo>
                  <a:lnTo>
                    <a:pt x="418" y="1588"/>
                  </a:lnTo>
                  <a:lnTo>
                    <a:pt x="414" y="1609"/>
                  </a:lnTo>
                  <a:lnTo>
                    <a:pt x="412" y="1631"/>
                  </a:lnTo>
                  <a:lnTo>
                    <a:pt x="410" y="1653"/>
                  </a:lnTo>
                  <a:lnTo>
                    <a:pt x="407" y="1678"/>
                  </a:lnTo>
                  <a:lnTo>
                    <a:pt x="407" y="1703"/>
                  </a:lnTo>
                  <a:lnTo>
                    <a:pt x="407" y="1730"/>
                  </a:lnTo>
                  <a:lnTo>
                    <a:pt x="408" y="1787"/>
                  </a:lnTo>
                  <a:lnTo>
                    <a:pt x="413" y="18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93">
            <a:extLst>
              <a:ext uri="{FF2B5EF4-FFF2-40B4-BE49-F238E27FC236}">
                <a16:creationId xmlns:a16="http://schemas.microsoft.com/office/drawing/2014/main" id="{EF39E5EF-AB22-4ECB-8CA2-C454B4DD0E07}"/>
              </a:ext>
            </a:extLst>
          </p:cNvPr>
          <p:cNvGrpSpPr/>
          <p:nvPr/>
        </p:nvGrpSpPr>
        <p:grpSpPr>
          <a:xfrm>
            <a:off x="1681563" y="4466703"/>
            <a:ext cx="721810" cy="600066"/>
            <a:chOff x="1032023" y="4571325"/>
            <a:chExt cx="866674" cy="496887"/>
          </a:xfrm>
          <a:solidFill>
            <a:srgbClr val="1E49E2"/>
          </a:solidFill>
        </p:grpSpPr>
        <p:sp>
          <p:nvSpPr>
            <p:cNvPr id="95" name="Freeform 7">
              <a:extLst>
                <a:ext uri="{FF2B5EF4-FFF2-40B4-BE49-F238E27FC236}">
                  <a16:creationId xmlns:a16="http://schemas.microsoft.com/office/drawing/2014/main" id="{584A2827-9BB2-41A4-A4B5-F3669FC5FCD2}"/>
                </a:ext>
              </a:extLst>
            </p:cNvPr>
            <p:cNvSpPr>
              <a:spLocks noEditPoints="1"/>
            </p:cNvSpPr>
            <p:nvPr/>
          </p:nvSpPr>
          <p:spPr bwMode="auto">
            <a:xfrm>
              <a:off x="1262830" y="4571325"/>
              <a:ext cx="635867" cy="468220"/>
            </a:xfrm>
            <a:custGeom>
              <a:avLst/>
              <a:gdLst/>
              <a:ahLst/>
              <a:cxnLst>
                <a:cxn ang="0">
                  <a:pos x="875" y="616"/>
                </a:cxn>
                <a:cxn ang="0">
                  <a:pos x="889" y="525"/>
                </a:cxn>
                <a:cxn ang="0">
                  <a:pos x="914" y="525"/>
                </a:cxn>
                <a:cxn ang="0">
                  <a:pos x="874" y="625"/>
                </a:cxn>
                <a:cxn ang="0">
                  <a:pos x="946" y="595"/>
                </a:cxn>
                <a:cxn ang="0">
                  <a:pos x="947" y="503"/>
                </a:cxn>
                <a:cxn ang="0">
                  <a:pos x="962" y="473"/>
                </a:cxn>
                <a:cxn ang="0">
                  <a:pos x="964" y="510"/>
                </a:cxn>
                <a:cxn ang="0">
                  <a:pos x="979" y="445"/>
                </a:cxn>
                <a:cxn ang="0">
                  <a:pos x="985" y="407"/>
                </a:cxn>
                <a:cxn ang="0">
                  <a:pos x="964" y="299"/>
                </a:cxn>
                <a:cxn ang="0">
                  <a:pos x="974" y="70"/>
                </a:cxn>
                <a:cxn ang="0">
                  <a:pos x="847" y="39"/>
                </a:cxn>
                <a:cxn ang="0">
                  <a:pos x="559" y="63"/>
                </a:cxn>
                <a:cxn ang="0">
                  <a:pos x="367" y="56"/>
                </a:cxn>
                <a:cxn ang="0">
                  <a:pos x="209" y="47"/>
                </a:cxn>
                <a:cxn ang="0">
                  <a:pos x="130" y="2"/>
                </a:cxn>
                <a:cxn ang="0">
                  <a:pos x="106" y="27"/>
                </a:cxn>
                <a:cxn ang="0">
                  <a:pos x="87" y="47"/>
                </a:cxn>
                <a:cxn ang="0">
                  <a:pos x="59" y="108"/>
                </a:cxn>
                <a:cxn ang="0">
                  <a:pos x="3" y="176"/>
                </a:cxn>
                <a:cxn ang="0">
                  <a:pos x="22" y="216"/>
                </a:cxn>
                <a:cxn ang="0">
                  <a:pos x="58" y="215"/>
                </a:cxn>
                <a:cxn ang="0">
                  <a:pos x="126" y="212"/>
                </a:cxn>
                <a:cxn ang="0">
                  <a:pos x="181" y="213"/>
                </a:cxn>
                <a:cxn ang="0">
                  <a:pos x="246" y="304"/>
                </a:cxn>
                <a:cxn ang="0">
                  <a:pos x="333" y="397"/>
                </a:cxn>
                <a:cxn ang="0">
                  <a:pos x="367" y="505"/>
                </a:cxn>
                <a:cxn ang="0">
                  <a:pos x="362" y="595"/>
                </a:cxn>
                <a:cxn ang="0">
                  <a:pos x="339" y="630"/>
                </a:cxn>
                <a:cxn ang="0">
                  <a:pos x="367" y="644"/>
                </a:cxn>
                <a:cxn ang="0">
                  <a:pos x="392" y="616"/>
                </a:cxn>
                <a:cxn ang="0">
                  <a:pos x="400" y="539"/>
                </a:cxn>
                <a:cxn ang="0">
                  <a:pos x="411" y="437"/>
                </a:cxn>
                <a:cxn ang="0">
                  <a:pos x="415" y="438"/>
                </a:cxn>
                <a:cxn ang="0">
                  <a:pos x="432" y="511"/>
                </a:cxn>
                <a:cxn ang="0">
                  <a:pos x="433" y="583"/>
                </a:cxn>
                <a:cxn ang="0">
                  <a:pos x="412" y="622"/>
                </a:cxn>
                <a:cxn ang="0">
                  <a:pos x="463" y="591"/>
                </a:cxn>
                <a:cxn ang="0">
                  <a:pos x="469" y="561"/>
                </a:cxn>
                <a:cxn ang="0">
                  <a:pos x="460" y="465"/>
                </a:cxn>
                <a:cxn ang="0">
                  <a:pos x="490" y="395"/>
                </a:cxn>
                <a:cxn ang="0">
                  <a:pos x="682" y="366"/>
                </a:cxn>
                <a:cxn ang="0">
                  <a:pos x="752" y="416"/>
                </a:cxn>
                <a:cxn ang="0">
                  <a:pos x="774" y="450"/>
                </a:cxn>
                <a:cxn ang="0">
                  <a:pos x="804" y="411"/>
                </a:cxn>
                <a:cxn ang="0">
                  <a:pos x="814" y="420"/>
                </a:cxn>
                <a:cxn ang="0">
                  <a:pos x="850" y="487"/>
                </a:cxn>
                <a:cxn ang="0">
                  <a:pos x="835" y="595"/>
                </a:cxn>
                <a:cxn ang="0">
                  <a:pos x="803" y="628"/>
                </a:cxn>
                <a:cxn ang="0">
                  <a:pos x="955" y="329"/>
                </a:cxn>
                <a:cxn ang="0">
                  <a:pos x="963" y="164"/>
                </a:cxn>
                <a:cxn ang="0">
                  <a:pos x="948" y="193"/>
                </a:cxn>
                <a:cxn ang="0">
                  <a:pos x="931" y="326"/>
                </a:cxn>
              </a:cxnLst>
              <a:rect l="0" t="0" r="r" b="b"/>
              <a:pathLst>
                <a:path w="991" h="652">
                  <a:moveTo>
                    <a:pt x="793" y="644"/>
                  </a:moveTo>
                  <a:cubicBezTo>
                    <a:pt x="794" y="649"/>
                    <a:pt x="823" y="646"/>
                    <a:pt x="827" y="646"/>
                  </a:cubicBezTo>
                  <a:cubicBezTo>
                    <a:pt x="841" y="646"/>
                    <a:pt x="856" y="642"/>
                    <a:pt x="858" y="629"/>
                  </a:cubicBezTo>
                  <a:cubicBezTo>
                    <a:pt x="859" y="621"/>
                    <a:pt x="871" y="620"/>
                    <a:pt x="875" y="616"/>
                  </a:cubicBezTo>
                  <a:cubicBezTo>
                    <a:pt x="878" y="614"/>
                    <a:pt x="880" y="611"/>
                    <a:pt x="880" y="608"/>
                  </a:cubicBezTo>
                  <a:cubicBezTo>
                    <a:pt x="881" y="605"/>
                    <a:pt x="876" y="600"/>
                    <a:pt x="876" y="597"/>
                  </a:cubicBezTo>
                  <a:cubicBezTo>
                    <a:pt x="876" y="589"/>
                    <a:pt x="877" y="583"/>
                    <a:pt x="878" y="575"/>
                  </a:cubicBezTo>
                  <a:cubicBezTo>
                    <a:pt x="881" y="557"/>
                    <a:pt x="885" y="543"/>
                    <a:pt x="889" y="525"/>
                  </a:cubicBezTo>
                  <a:cubicBezTo>
                    <a:pt x="892" y="512"/>
                    <a:pt x="895" y="506"/>
                    <a:pt x="899" y="494"/>
                  </a:cubicBezTo>
                  <a:cubicBezTo>
                    <a:pt x="901" y="486"/>
                    <a:pt x="902" y="477"/>
                    <a:pt x="904" y="469"/>
                  </a:cubicBezTo>
                  <a:cubicBezTo>
                    <a:pt x="907" y="479"/>
                    <a:pt x="912" y="487"/>
                    <a:pt x="914" y="497"/>
                  </a:cubicBezTo>
                  <a:cubicBezTo>
                    <a:pt x="916" y="509"/>
                    <a:pt x="914" y="514"/>
                    <a:pt x="914" y="525"/>
                  </a:cubicBezTo>
                  <a:cubicBezTo>
                    <a:pt x="914" y="538"/>
                    <a:pt x="915" y="548"/>
                    <a:pt x="914" y="560"/>
                  </a:cubicBezTo>
                  <a:cubicBezTo>
                    <a:pt x="913" y="566"/>
                    <a:pt x="913" y="573"/>
                    <a:pt x="911" y="578"/>
                  </a:cubicBezTo>
                  <a:cubicBezTo>
                    <a:pt x="906" y="590"/>
                    <a:pt x="897" y="597"/>
                    <a:pt x="889" y="605"/>
                  </a:cubicBezTo>
                  <a:cubicBezTo>
                    <a:pt x="887" y="607"/>
                    <a:pt x="870" y="622"/>
                    <a:pt x="874" y="625"/>
                  </a:cubicBezTo>
                  <a:cubicBezTo>
                    <a:pt x="884" y="631"/>
                    <a:pt x="922" y="624"/>
                    <a:pt x="934" y="618"/>
                  </a:cubicBezTo>
                  <a:cubicBezTo>
                    <a:pt x="936" y="616"/>
                    <a:pt x="937" y="612"/>
                    <a:pt x="938" y="609"/>
                  </a:cubicBezTo>
                  <a:cubicBezTo>
                    <a:pt x="938" y="607"/>
                    <a:pt x="938" y="604"/>
                    <a:pt x="938" y="601"/>
                  </a:cubicBezTo>
                  <a:cubicBezTo>
                    <a:pt x="940" y="599"/>
                    <a:pt x="943" y="597"/>
                    <a:pt x="946" y="595"/>
                  </a:cubicBezTo>
                  <a:cubicBezTo>
                    <a:pt x="948" y="593"/>
                    <a:pt x="951" y="593"/>
                    <a:pt x="952" y="591"/>
                  </a:cubicBezTo>
                  <a:cubicBezTo>
                    <a:pt x="953" y="587"/>
                    <a:pt x="952" y="583"/>
                    <a:pt x="952" y="579"/>
                  </a:cubicBezTo>
                  <a:cubicBezTo>
                    <a:pt x="949" y="564"/>
                    <a:pt x="946" y="553"/>
                    <a:pt x="946" y="537"/>
                  </a:cubicBezTo>
                  <a:cubicBezTo>
                    <a:pt x="947" y="523"/>
                    <a:pt x="946" y="517"/>
                    <a:pt x="947" y="503"/>
                  </a:cubicBezTo>
                  <a:cubicBezTo>
                    <a:pt x="948" y="492"/>
                    <a:pt x="950" y="482"/>
                    <a:pt x="951" y="471"/>
                  </a:cubicBezTo>
                  <a:cubicBezTo>
                    <a:pt x="952" y="475"/>
                    <a:pt x="954" y="480"/>
                    <a:pt x="954" y="484"/>
                  </a:cubicBezTo>
                  <a:cubicBezTo>
                    <a:pt x="955" y="500"/>
                    <a:pt x="952" y="511"/>
                    <a:pt x="957" y="526"/>
                  </a:cubicBezTo>
                  <a:cubicBezTo>
                    <a:pt x="958" y="508"/>
                    <a:pt x="959" y="490"/>
                    <a:pt x="962" y="473"/>
                  </a:cubicBezTo>
                  <a:cubicBezTo>
                    <a:pt x="963" y="464"/>
                    <a:pt x="966" y="455"/>
                    <a:pt x="968" y="446"/>
                  </a:cubicBezTo>
                  <a:cubicBezTo>
                    <a:pt x="968" y="454"/>
                    <a:pt x="968" y="461"/>
                    <a:pt x="968" y="468"/>
                  </a:cubicBezTo>
                  <a:cubicBezTo>
                    <a:pt x="969" y="478"/>
                    <a:pt x="969" y="486"/>
                    <a:pt x="967" y="496"/>
                  </a:cubicBezTo>
                  <a:cubicBezTo>
                    <a:pt x="967" y="501"/>
                    <a:pt x="965" y="506"/>
                    <a:pt x="964" y="510"/>
                  </a:cubicBezTo>
                  <a:cubicBezTo>
                    <a:pt x="967" y="506"/>
                    <a:pt x="971" y="502"/>
                    <a:pt x="973" y="497"/>
                  </a:cubicBezTo>
                  <a:cubicBezTo>
                    <a:pt x="977" y="489"/>
                    <a:pt x="977" y="478"/>
                    <a:pt x="978" y="469"/>
                  </a:cubicBezTo>
                  <a:cubicBezTo>
                    <a:pt x="978" y="466"/>
                    <a:pt x="979" y="462"/>
                    <a:pt x="979" y="458"/>
                  </a:cubicBezTo>
                  <a:cubicBezTo>
                    <a:pt x="979" y="454"/>
                    <a:pt x="979" y="450"/>
                    <a:pt x="979" y="445"/>
                  </a:cubicBezTo>
                  <a:cubicBezTo>
                    <a:pt x="981" y="449"/>
                    <a:pt x="983" y="453"/>
                    <a:pt x="985" y="457"/>
                  </a:cubicBezTo>
                  <a:cubicBezTo>
                    <a:pt x="985" y="453"/>
                    <a:pt x="984" y="449"/>
                    <a:pt x="985" y="445"/>
                  </a:cubicBezTo>
                  <a:cubicBezTo>
                    <a:pt x="986" y="438"/>
                    <a:pt x="991" y="432"/>
                    <a:pt x="991" y="424"/>
                  </a:cubicBezTo>
                  <a:cubicBezTo>
                    <a:pt x="991" y="418"/>
                    <a:pt x="986" y="413"/>
                    <a:pt x="985" y="407"/>
                  </a:cubicBezTo>
                  <a:cubicBezTo>
                    <a:pt x="984" y="400"/>
                    <a:pt x="986" y="393"/>
                    <a:pt x="984" y="387"/>
                  </a:cubicBezTo>
                  <a:cubicBezTo>
                    <a:pt x="982" y="381"/>
                    <a:pt x="977" y="376"/>
                    <a:pt x="975" y="370"/>
                  </a:cubicBezTo>
                  <a:cubicBezTo>
                    <a:pt x="972" y="362"/>
                    <a:pt x="971" y="353"/>
                    <a:pt x="969" y="344"/>
                  </a:cubicBezTo>
                  <a:cubicBezTo>
                    <a:pt x="967" y="329"/>
                    <a:pt x="964" y="314"/>
                    <a:pt x="964" y="299"/>
                  </a:cubicBezTo>
                  <a:cubicBezTo>
                    <a:pt x="964" y="276"/>
                    <a:pt x="967" y="257"/>
                    <a:pt x="969" y="235"/>
                  </a:cubicBezTo>
                  <a:cubicBezTo>
                    <a:pt x="972" y="205"/>
                    <a:pt x="975" y="186"/>
                    <a:pt x="978" y="156"/>
                  </a:cubicBezTo>
                  <a:cubicBezTo>
                    <a:pt x="979" y="143"/>
                    <a:pt x="983" y="130"/>
                    <a:pt x="982" y="117"/>
                  </a:cubicBezTo>
                  <a:cubicBezTo>
                    <a:pt x="981" y="101"/>
                    <a:pt x="981" y="84"/>
                    <a:pt x="974" y="70"/>
                  </a:cubicBezTo>
                  <a:cubicBezTo>
                    <a:pt x="967" y="56"/>
                    <a:pt x="955" y="44"/>
                    <a:pt x="941" y="36"/>
                  </a:cubicBezTo>
                  <a:cubicBezTo>
                    <a:pt x="931" y="30"/>
                    <a:pt x="919" y="33"/>
                    <a:pt x="908" y="33"/>
                  </a:cubicBezTo>
                  <a:cubicBezTo>
                    <a:pt x="896" y="34"/>
                    <a:pt x="884" y="30"/>
                    <a:pt x="872" y="32"/>
                  </a:cubicBezTo>
                  <a:cubicBezTo>
                    <a:pt x="864" y="34"/>
                    <a:pt x="856" y="38"/>
                    <a:pt x="847" y="39"/>
                  </a:cubicBezTo>
                  <a:cubicBezTo>
                    <a:pt x="832" y="40"/>
                    <a:pt x="816" y="38"/>
                    <a:pt x="801" y="39"/>
                  </a:cubicBezTo>
                  <a:cubicBezTo>
                    <a:pt x="782" y="40"/>
                    <a:pt x="763" y="41"/>
                    <a:pt x="744" y="41"/>
                  </a:cubicBezTo>
                  <a:cubicBezTo>
                    <a:pt x="705" y="41"/>
                    <a:pt x="667" y="52"/>
                    <a:pt x="629" y="50"/>
                  </a:cubicBezTo>
                  <a:cubicBezTo>
                    <a:pt x="605" y="49"/>
                    <a:pt x="583" y="63"/>
                    <a:pt x="559" y="63"/>
                  </a:cubicBezTo>
                  <a:cubicBezTo>
                    <a:pt x="539" y="63"/>
                    <a:pt x="520" y="66"/>
                    <a:pt x="500" y="65"/>
                  </a:cubicBezTo>
                  <a:cubicBezTo>
                    <a:pt x="478" y="64"/>
                    <a:pt x="455" y="60"/>
                    <a:pt x="433" y="58"/>
                  </a:cubicBezTo>
                  <a:cubicBezTo>
                    <a:pt x="419" y="56"/>
                    <a:pt x="405" y="53"/>
                    <a:pt x="391" y="53"/>
                  </a:cubicBezTo>
                  <a:cubicBezTo>
                    <a:pt x="382" y="53"/>
                    <a:pt x="374" y="55"/>
                    <a:pt x="367" y="56"/>
                  </a:cubicBezTo>
                  <a:cubicBezTo>
                    <a:pt x="352" y="59"/>
                    <a:pt x="338" y="64"/>
                    <a:pt x="324" y="66"/>
                  </a:cubicBezTo>
                  <a:cubicBezTo>
                    <a:pt x="312" y="67"/>
                    <a:pt x="300" y="67"/>
                    <a:pt x="288" y="67"/>
                  </a:cubicBezTo>
                  <a:cubicBezTo>
                    <a:pt x="277" y="66"/>
                    <a:pt x="266" y="65"/>
                    <a:pt x="255" y="62"/>
                  </a:cubicBezTo>
                  <a:cubicBezTo>
                    <a:pt x="239" y="58"/>
                    <a:pt x="224" y="52"/>
                    <a:pt x="209" y="47"/>
                  </a:cubicBezTo>
                  <a:cubicBezTo>
                    <a:pt x="193" y="42"/>
                    <a:pt x="177" y="38"/>
                    <a:pt x="161" y="32"/>
                  </a:cubicBezTo>
                  <a:cubicBezTo>
                    <a:pt x="156" y="30"/>
                    <a:pt x="151" y="27"/>
                    <a:pt x="147" y="22"/>
                  </a:cubicBezTo>
                  <a:cubicBezTo>
                    <a:pt x="145" y="20"/>
                    <a:pt x="146" y="15"/>
                    <a:pt x="144" y="12"/>
                  </a:cubicBezTo>
                  <a:cubicBezTo>
                    <a:pt x="140" y="8"/>
                    <a:pt x="135" y="4"/>
                    <a:pt x="130" y="2"/>
                  </a:cubicBezTo>
                  <a:cubicBezTo>
                    <a:pt x="126" y="0"/>
                    <a:pt x="122" y="1"/>
                    <a:pt x="119" y="3"/>
                  </a:cubicBezTo>
                  <a:cubicBezTo>
                    <a:pt x="116" y="5"/>
                    <a:pt x="114" y="8"/>
                    <a:pt x="113" y="11"/>
                  </a:cubicBezTo>
                  <a:cubicBezTo>
                    <a:pt x="111" y="15"/>
                    <a:pt x="112" y="20"/>
                    <a:pt x="111" y="23"/>
                  </a:cubicBezTo>
                  <a:cubicBezTo>
                    <a:pt x="110" y="25"/>
                    <a:pt x="108" y="27"/>
                    <a:pt x="106" y="27"/>
                  </a:cubicBezTo>
                  <a:cubicBezTo>
                    <a:pt x="102" y="27"/>
                    <a:pt x="100" y="23"/>
                    <a:pt x="96" y="23"/>
                  </a:cubicBezTo>
                  <a:cubicBezTo>
                    <a:pt x="93" y="23"/>
                    <a:pt x="90" y="25"/>
                    <a:pt x="88" y="27"/>
                  </a:cubicBezTo>
                  <a:cubicBezTo>
                    <a:pt x="86" y="29"/>
                    <a:pt x="85" y="33"/>
                    <a:pt x="85" y="36"/>
                  </a:cubicBezTo>
                  <a:cubicBezTo>
                    <a:pt x="85" y="39"/>
                    <a:pt x="86" y="43"/>
                    <a:pt x="87" y="47"/>
                  </a:cubicBezTo>
                  <a:cubicBezTo>
                    <a:pt x="88" y="48"/>
                    <a:pt x="90" y="49"/>
                    <a:pt x="91" y="50"/>
                  </a:cubicBezTo>
                  <a:cubicBezTo>
                    <a:pt x="87" y="56"/>
                    <a:pt x="82" y="61"/>
                    <a:pt x="79" y="67"/>
                  </a:cubicBezTo>
                  <a:cubicBezTo>
                    <a:pt x="76" y="72"/>
                    <a:pt x="74" y="78"/>
                    <a:pt x="71" y="84"/>
                  </a:cubicBezTo>
                  <a:cubicBezTo>
                    <a:pt x="67" y="92"/>
                    <a:pt x="63" y="100"/>
                    <a:pt x="59" y="108"/>
                  </a:cubicBezTo>
                  <a:cubicBezTo>
                    <a:pt x="53" y="116"/>
                    <a:pt x="47" y="124"/>
                    <a:pt x="41" y="133"/>
                  </a:cubicBezTo>
                  <a:cubicBezTo>
                    <a:pt x="36" y="141"/>
                    <a:pt x="31" y="150"/>
                    <a:pt x="26" y="158"/>
                  </a:cubicBezTo>
                  <a:cubicBezTo>
                    <a:pt x="23" y="162"/>
                    <a:pt x="19" y="166"/>
                    <a:pt x="15" y="169"/>
                  </a:cubicBezTo>
                  <a:cubicBezTo>
                    <a:pt x="12" y="172"/>
                    <a:pt x="6" y="173"/>
                    <a:pt x="3" y="176"/>
                  </a:cubicBezTo>
                  <a:cubicBezTo>
                    <a:pt x="1" y="178"/>
                    <a:pt x="0" y="181"/>
                    <a:pt x="0" y="184"/>
                  </a:cubicBezTo>
                  <a:cubicBezTo>
                    <a:pt x="0" y="188"/>
                    <a:pt x="0" y="193"/>
                    <a:pt x="1" y="196"/>
                  </a:cubicBezTo>
                  <a:cubicBezTo>
                    <a:pt x="3" y="201"/>
                    <a:pt x="6" y="205"/>
                    <a:pt x="10" y="208"/>
                  </a:cubicBezTo>
                  <a:cubicBezTo>
                    <a:pt x="13" y="211"/>
                    <a:pt x="18" y="214"/>
                    <a:pt x="22" y="216"/>
                  </a:cubicBezTo>
                  <a:cubicBezTo>
                    <a:pt x="22" y="218"/>
                    <a:pt x="24" y="220"/>
                    <a:pt x="26" y="221"/>
                  </a:cubicBezTo>
                  <a:cubicBezTo>
                    <a:pt x="30" y="222"/>
                    <a:pt x="33" y="220"/>
                    <a:pt x="37" y="220"/>
                  </a:cubicBezTo>
                  <a:cubicBezTo>
                    <a:pt x="42" y="220"/>
                    <a:pt x="46" y="222"/>
                    <a:pt x="51" y="221"/>
                  </a:cubicBezTo>
                  <a:cubicBezTo>
                    <a:pt x="54" y="220"/>
                    <a:pt x="56" y="217"/>
                    <a:pt x="58" y="215"/>
                  </a:cubicBezTo>
                  <a:cubicBezTo>
                    <a:pt x="64" y="209"/>
                    <a:pt x="66" y="209"/>
                    <a:pt x="76" y="210"/>
                  </a:cubicBezTo>
                  <a:cubicBezTo>
                    <a:pt x="82" y="210"/>
                    <a:pt x="87" y="213"/>
                    <a:pt x="92" y="213"/>
                  </a:cubicBezTo>
                  <a:cubicBezTo>
                    <a:pt x="98" y="213"/>
                    <a:pt x="105" y="212"/>
                    <a:pt x="112" y="212"/>
                  </a:cubicBezTo>
                  <a:cubicBezTo>
                    <a:pt x="116" y="211"/>
                    <a:pt x="121" y="212"/>
                    <a:pt x="126" y="212"/>
                  </a:cubicBezTo>
                  <a:cubicBezTo>
                    <a:pt x="132" y="212"/>
                    <a:pt x="137" y="212"/>
                    <a:pt x="143" y="211"/>
                  </a:cubicBezTo>
                  <a:cubicBezTo>
                    <a:pt x="146" y="211"/>
                    <a:pt x="150" y="208"/>
                    <a:pt x="153" y="207"/>
                  </a:cubicBezTo>
                  <a:cubicBezTo>
                    <a:pt x="157" y="206"/>
                    <a:pt x="161" y="206"/>
                    <a:pt x="165" y="206"/>
                  </a:cubicBezTo>
                  <a:cubicBezTo>
                    <a:pt x="171" y="212"/>
                    <a:pt x="172" y="212"/>
                    <a:pt x="181" y="213"/>
                  </a:cubicBezTo>
                  <a:cubicBezTo>
                    <a:pt x="185" y="217"/>
                    <a:pt x="189" y="222"/>
                    <a:pt x="193" y="227"/>
                  </a:cubicBezTo>
                  <a:cubicBezTo>
                    <a:pt x="200" y="233"/>
                    <a:pt x="209" y="238"/>
                    <a:pt x="215" y="245"/>
                  </a:cubicBezTo>
                  <a:cubicBezTo>
                    <a:pt x="222" y="252"/>
                    <a:pt x="229" y="260"/>
                    <a:pt x="234" y="269"/>
                  </a:cubicBezTo>
                  <a:cubicBezTo>
                    <a:pt x="239" y="280"/>
                    <a:pt x="240" y="293"/>
                    <a:pt x="246" y="304"/>
                  </a:cubicBezTo>
                  <a:cubicBezTo>
                    <a:pt x="251" y="313"/>
                    <a:pt x="259" y="328"/>
                    <a:pt x="265" y="336"/>
                  </a:cubicBezTo>
                  <a:cubicBezTo>
                    <a:pt x="278" y="353"/>
                    <a:pt x="283" y="366"/>
                    <a:pt x="298" y="381"/>
                  </a:cubicBezTo>
                  <a:cubicBezTo>
                    <a:pt x="303" y="386"/>
                    <a:pt x="309" y="390"/>
                    <a:pt x="316" y="393"/>
                  </a:cubicBezTo>
                  <a:cubicBezTo>
                    <a:pt x="321" y="396"/>
                    <a:pt x="327" y="396"/>
                    <a:pt x="333" y="397"/>
                  </a:cubicBezTo>
                  <a:cubicBezTo>
                    <a:pt x="338" y="397"/>
                    <a:pt x="348" y="393"/>
                    <a:pt x="353" y="392"/>
                  </a:cubicBezTo>
                  <a:cubicBezTo>
                    <a:pt x="355" y="403"/>
                    <a:pt x="362" y="442"/>
                    <a:pt x="363" y="454"/>
                  </a:cubicBezTo>
                  <a:cubicBezTo>
                    <a:pt x="364" y="464"/>
                    <a:pt x="362" y="478"/>
                    <a:pt x="363" y="488"/>
                  </a:cubicBezTo>
                  <a:cubicBezTo>
                    <a:pt x="364" y="494"/>
                    <a:pt x="366" y="500"/>
                    <a:pt x="367" y="505"/>
                  </a:cubicBezTo>
                  <a:cubicBezTo>
                    <a:pt x="370" y="512"/>
                    <a:pt x="373" y="519"/>
                    <a:pt x="374" y="527"/>
                  </a:cubicBezTo>
                  <a:cubicBezTo>
                    <a:pt x="376" y="533"/>
                    <a:pt x="375" y="540"/>
                    <a:pt x="375" y="547"/>
                  </a:cubicBezTo>
                  <a:cubicBezTo>
                    <a:pt x="374" y="556"/>
                    <a:pt x="372" y="565"/>
                    <a:pt x="370" y="574"/>
                  </a:cubicBezTo>
                  <a:cubicBezTo>
                    <a:pt x="368" y="581"/>
                    <a:pt x="364" y="588"/>
                    <a:pt x="362" y="595"/>
                  </a:cubicBezTo>
                  <a:cubicBezTo>
                    <a:pt x="361" y="598"/>
                    <a:pt x="361" y="601"/>
                    <a:pt x="361" y="604"/>
                  </a:cubicBezTo>
                  <a:cubicBezTo>
                    <a:pt x="357" y="607"/>
                    <a:pt x="355" y="608"/>
                    <a:pt x="352" y="611"/>
                  </a:cubicBezTo>
                  <a:cubicBezTo>
                    <a:pt x="350" y="614"/>
                    <a:pt x="350" y="618"/>
                    <a:pt x="348" y="621"/>
                  </a:cubicBezTo>
                  <a:cubicBezTo>
                    <a:pt x="346" y="625"/>
                    <a:pt x="342" y="627"/>
                    <a:pt x="339" y="630"/>
                  </a:cubicBezTo>
                  <a:cubicBezTo>
                    <a:pt x="336" y="633"/>
                    <a:pt x="334" y="635"/>
                    <a:pt x="332" y="638"/>
                  </a:cubicBezTo>
                  <a:cubicBezTo>
                    <a:pt x="331" y="641"/>
                    <a:pt x="326" y="647"/>
                    <a:pt x="330" y="648"/>
                  </a:cubicBezTo>
                  <a:cubicBezTo>
                    <a:pt x="336" y="652"/>
                    <a:pt x="343" y="649"/>
                    <a:pt x="350" y="648"/>
                  </a:cubicBezTo>
                  <a:cubicBezTo>
                    <a:pt x="356" y="647"/>
                    <a:pt x="362" y="646"/>
                    <a:pt x="367" y="644"/>
                  </a:cubicBezTo>
                  <a:cubicBezTo>
                    <a:pt x="372" y="642"/>
                    <a:pt x="377" y="641"/>
                    <a:pt x="381" y="638"/>
                  </a:cubicBezTo>
                  <a:cubicBezTo>
                    <a:pt x="384" y="636"/>
                    <a:pt x="387" y="633"/>
                    <a:pt x="387" y="629"/>
                  </a:cubicBezTo>
                  <a:cubicBezTo>
                    <a:pt x="388" y="624"/>
                    <a:pt x="386" y="620"/>
                    <a:pt x="385" y="615"/>
                  </a:cubicBezTo>
                  <a:cubicBezTo>
                    <a:pt x="388" y="615"/>
                    <a:pt x="390" y="616"/>
                    <a:pt x="392" y="616"/>
                  </a:cubicBezTo>
                  <a:cubicBezTo>
                    <a:pt x="395" y="615"/>
                    <a:pt x="398" y="614"/>
                    <a:pt x="400" y="612"/>
                  </a:cubicBezTo>
                  <a:cubicBezTo>
                    <a:pt x="402" y="607"/>
                    <a:pt x="404" y="602"/>
                    <a:pt x="403" y="597"/>
                  </a:cubicBezTo>
                  <a:cubicBezTo>
                    <a:pt x="403" y="589"/>
                    <a:pt x="400" y="582"/>
                    <a:pt x="399" y="575"/>
                  </a:cubicBezTo>
                  <a:cubicBezTo>
                    <a:pt x="398" y="563"/>
                    <a:pt x="399" y="551"/>
                    <a:pt x="400" y="539"/>
                  </a:cubicBezTo>
                  <a:cubicBezTo>
                    <a:pt x="400" y="531"/>
                    <a:pt x="402" y="524"/>
                    <a:pt x="403" y="516"/>
                  </a:cubicBezTo>
                  <a:cubicBezTo>
                    <a:pt x="404" y="511"/>
                    <a:pt x="407" y="506"/>
                    <a:pt x="408" y="501"/>
                  </a:cubicBezTo>
                  <a:cubicBezTo>
                    <a:pt x="408" y="491"/>
                    <a:pt x="406" y="478"/>
                    <a:pt x="407" y="469"/>
                  </a:cubicBezTo>
                  <a:cubicBezTo>
                    <a:pt x="407" y="458"/>
                    <a:pt x="411" y="448"/>
                    <a:pt x="411" y="437"/>
                  </a:cubicBezTo>
                  <a:cubicBezTo>
                    <a:pt x="411" y="432"/>
                    <a:pt x="409" y="424"/>
                    <a:pt x="409" y="419"/>
                  </a:cubicBezTo>
                  <a:cubicBezTo>
                    <a:pt x="408" y="412"/>
                    <a:pt x="409" y="405"/>
                    <a:pt x="409" y="398"/>
                  </a:cubicBezTo>
                  <a:cubicBezTo>
                    <a:pt x="410" y="401"/>
                    <a:pt x="413" y="404"/>
                    <a:pt x="413" y="408"/>
                  </a:cubicBezTo>
                  <a:cubicBezTo>
                    <a:pt x="415" y="416"/>
                    <a:pt x="414" y="429"/>
                    <a:pt x="415" y="438"/>
                  </a:cubicBezTo>
                  <a:cubicBezTo>
                    <a:pt x="415" y="446"/>
                    <a:pt x="414" y="454"/>
                    <a:pt x="415" y="462"/>
                  </a:cubicBezTo>
                  <a:cubicBezTo>
                    <a:pt x="415" y="470"/>
                    <a:pt x="415" y="482"/>
                    <a:pt x="418" y="490"/>
                  </a:cubicBezTo>
                  <a:cubicBezTo>
                    <a:pt x="419" y="494"/>
                    <a:pt x="422" y="497"/>
                    <a:pt x="424" y="500"/>
                  </a:cubicBezTo>
                  <a:cubicBezTo>
                    <a:pt x="426" y="504"/>
                    <a:pt x="430" y="507"/>
                    <a:pt x="432" y="511"/>
                  </a:cubicBezTo>
                  <a:cubicBezTo>
                    <a:pt x="434" y="520"/>
                    <a:pt x="433" y="529"/>
                    <a:pt x="433" y="537"/>
                  </a:cubicBezTo>
                  <a:cubicBezTo>
                    <a:pt x="433" y="543"/>
                    <a:pt x="432" y="548"/>
                    <a:pt x="432" y="554"/>
                  </a:cubicBezTo>
                  <a:cubicBezTo>
                    <a:pt x="432" y="559"/>
                    <a:pt x="432" y="565"/>
                    <a:pt x="432" y="570"/>
                  </a:cubicBezTo>
                  <a:cubicBezTo>
                    <a:pt x="432" y="575"/>
                    <a:pt x="434" y="579"/>
                    <a:pt x="433" y="583"/>
                  </a:cubicBezTo>
                  <a:cubicBezTo>
                    <a:pt x="433" y="587"/>
                    <a:pt x="430" y="590"/>
                    <a:pt x="429" y="593"/>
                  </a:cubicBezTo>
                  <a:cubicBezTo>
                    <a:pt x="428" y="595"/>
                    <a:pt x="428" y="597"/>
                    <a:pt x="427" y="599"/>
                  </a:cubicBezTo>
                  <a:cubicBezTo>
                    <a:pt x="426" y="601"/>
                    <a:pt x="423" y="602"/>
                    <a:pt x="421" y="605"/>
                  </a:cubicBezTo>
                  <a:cubicBezTo>
                    <a:pt x="419" y="608"/>
                    <a:pt x="410" y="621"/>
                    <a:pt x="412" y="622"/>
                  </a:cubicBezTo>
                  <a:cubicBezTo>
                    <a:pt x="415" y="625"/>
                    <a:pt x="422" y="624"/>
                    <a:pt x="427" y="623"/>
                  </a:cubicBezTo>
                  <a:cubicBezTo>
                    <a:pt x="439" y="622"/>
                    <a:pt x="453" y="619"/>
                    <a:pt x="462" y="612"/>
                  </a:cubicBezTo>
                  <a:cubicBezTo>
                    <a:pt x="465" y="610"/>
                    <a:pt x="469" y="606"/>
                    <a:pt x="469" y="602"/>
                  </a:cubicBezTo>
                  <a:cubicBezTo>
                    <a:pt x="469" y="597"/>
                    <a:pt x="465" y="595"/>
                    <a:pt x="463" y="591"/>
                  </a:cubicBezTo>
                  <a:cubicBezTo>
                    <a:pt x="463" y="589"/>
                    <a:pt x="463" y="587"/>
                    <a:pt x="464" y="585"/>
                  </a:cubicBezTo>
                  <a:cubicBezTo>
                    <a:pt x="466" y="583"/>
                    <a:pt x="470" y="583"/>
                    <a:pt x="472" y="581"/>
                  </a:cubicBezTo>
                  <a:cubicBezTo>
                    <a:pt x="474" y="579"/>
                    <a:pt x="476" y="577"/>
                    <a:pt x="476" y="574"/>
                  </a:cubicBezTo>
                  <a:cubicBezTo>
                    <a:pt x="475" y="569"/>
                    <a:pt x="471" y="565"/>
                    <a:pt x="469" y="561"/>
                  </a:cubicBezTo>
                  <a:cubicBezTo>
                    <a:pt x="466" y="554"/>
                    <a:pt x="463" y="547"/>
                    <a:pt x="461" y="540"/>
                  </a:cubicBezTo>
                  <a:cubicBezTo>
                    <a:pt x="459" y="531"/>
                    <a:pt x="458" y="522"/>
                    <a:pt x="457" y="512"/>
                  </a:cubicBezTo>
                  <a:cubicBezTo>
                    <a:pt x="457" y="506"/>
                    <a:pt x="457" y="500"/>
                    <a:pt x="457" y="494"/>
                  </a:cubicBezTo>
                  <a:cubicBezTo>
                    <a:pt x="458" y="485"/>
                    <a:pt x="460" y="473"/>
                    <a:pt x="460" y="465"/>
                  </a:cubicBezTo>
                  <a:cubicBezTo>
                    <a:pt x="460" y="457"/>
                    <a:pt x="457" y="449"/>
                    <a:pt x="457" y="441"/>
                  </a:cubicBezTo>
                  <a:cubicBezTo>
                    <a:pt x="457" y="427"/>
                    <a:pt x="458" y="418"/>
                    <a:pt x="459" y="405"/>
                  </a:cubicBezTo>
                  <a:cubicBezTo>
                    <a:pt x="459" y="400"/>
                    <a:pt x="460" y="394"/>
                    <a:pt x="461" y="389"/>
                  </a:cubicBezTo>
                  <a:cubicBezTo>
                    <a:pt x="471" y="391"/>
                    <a:pt x="480" y="392"/>
                    <a:pt x="490" y="395"/>
                  </a:cubicBezTo>
                  <a:cubicBezTo>
                    <a:pt x="507" y="399"/>
                    <a:pt x="524" y="398"/>
                    <a:pt x="541" y="403"/>
                  </a:cubicBezTo>
                  <a:cubicBezTo>
                    <a:pt x="562" y="408"/>
                    <a:pt x="582" y="381"/>
                    <a:pt x="603" y="386"/>
                  </a:cubicBezTo>
                  <a:cubicBezTo>
                    <a:pt x="620" y="390"/>
                    <a:pt x="633" y="398"/>
                    <a:pt x="651" y="393"/>
                  </a:cubicBezTo>
                  <a:cubicBezTo>
                    <a:pt x="662" y="390"/>
                    <a:pt x="672" y="371"/>
                    <a:pt x="682" y="366"/>
                  </a:cubicBezTo>
                  <a:cubicBezTo>
                    <a:pt x="684" y="371"/>
                    <a:pt x="684" y="377"/>
                    <a:pt x="688" y="381"/>
                  </a:cubicBezTo>
                  <a:cubicBezTo>
                    <a:pt x="694" y="388"/>
                    <a:pt x="702" y="393"/>
                    <a:pt x="709" y="398"/>
                  </a:cubicBezTo>
                  <a:cubicBezTo>
                    <a:pt x="715" y="401"/>
                    <a:pt x="721" y="404"/>
                    <a:pt x="727" y="406"/>
                  </a:cubicBezTo>
                  <a:cubicBezTo>
                    <a:pt x="735" y="410"/>
                    <a:pt x="744" y="414"/>
                    <a:pt x="752" y="416"/>
                  </a:cubicBezTo>
                  <a:cubicBezTo>
                    <a:pt x="757" y="417"/>
                    <a:pt x="762" y="417"/>
                    <a:pt x="767" y="417"/>
                  </a:cubicBezTo>
                  <a:cubicBezTo>
                    <a:pt x="767" y="420"/>
                    <a:pt x="767" y="423"/>
                    <a:pt x="767" y="425"/>
                  </a:cubicBezTo>
                  <a:cubicBezTo>
                    <a:pt x="768" y="431"/>
                    <a:pt x="767" y="438"/>
                    <a:pt x="769" y="444"/>
                  </a:cubicBezTo>
                  <a:cubicBezTo>
                    <a:pt x="769" y="446"/>
                    <a:pt x="771" y="450"/>
                    <a:pt x="774" y="450"/>
                  </a:cubicBezTo>
                  <a:cubicBezTo>
                    <a:pt x="777" y="450"/>
                    <a:pt x="780" y="447"/>
                    <a:pt x="781" y="445"/>
                  </a:cubicBezTo>
                  <a:cubicBezTo>
                    <a:pt x="782" y="441"/>
                    <a:pt x="781" y="436"/>
                    <a:pt x="781" y="432"/>
                  </a:cubicBezTo>
                  <a:cubicBezTo>
                    <a:pt x="781" y="426"/>
                    <a:pt x="780" y="424"/>
                    <a:pt x="780" y="418"/>
                  </a:cubicBezTo>
                  <a:cubicBezTo>
                    <a:pt x="789" y="418"/>
                    <a:pt x="795" y="417"/>
                    <a:pt x="804" y="411"/>
                  </a:cubicBezTo>
                  <a:cubicBezTo>
                    <a:pt x="804" y="414"/>
                    <a:pt x="804" y="416"/>
                    <a:pt x="804" y="418"/>
                  </a:cubicBezTo>
                  <a:cubicBezTo>
                    <a:pt x="803" y="423"/>
                    <a:pt x="802" y="427"/>
                    <a:pt x="803" y="431"/>
                  </a:cubicBezTo>
                  <a:cubicBezTo>
                    <a:pt x="805" y="439"/>
                    <a:pt x="810" y="437"/>
                    <a:pt x="812" y="431"/>
                  </a:cubicBezTo>
                  <a:cubicBezTo>
                    <a:pt x="813" y="427"/>
                    <a:pt x="813" y="424"/>
                    <a:pt x="814" y="420"/>
                  </a:cubicBezTo>
                  <a:cubicBezTo>
                    <a:pt x="815" y="417"/>
                    <a:pt x="815" y="415"/>
                    <a:pt x="816" y="412"/>
                  </a:cubicBezTo>
                  <a:cubicBezTo>
                    <a:pt x="820" y="413"/>
                    <a:pt x="828" y="415"/>
                    <a:pt x="830" y="419"/>
                  </a:cubicBezTo>
                  <a:cubicBezTo>
                    <a:pt x="837" y="428"/>
                    <a:pt x="838" y="436"/>
                    <a:pt x="841" y="447"/>
                  </a:cubicBezTo>
                  <a:cubicBezTo>
                    <a:pt x="845" y="460"/>
                    <a:pt x="848" y="473"/>
                    <a:pt x="850" y="487"/>
                  </a:cubicBezTo>
                  <a:cubicBezTo>
                    <a:pt x="851" y="500"/>
                    <a:pt x="853" y="513"/>
                    <a:pt x="852" y="526"/>
                  </a:cubicBezTo>
                  <a:cubicBezTo>
                    <a:pt x="851" y="538"/>
                    <a:pt x="849" y="539"/>
                    <a:pt x="846" y="551"/>
                  </a:cubicBezTo>
                  <a:cubicBezTo>
                    <a:pt x="844" y="559"/>
                    <a:pt x="840" y="567"/>
                    <a:pt x="838" y="575"/>
                  </a:cubicBezTo>
                  <a:cubicBezTo>
                    <a:pt x="837" y="582"/>
                    <a:pt x="838" y="589"/>
                    <a:pt x="835" y="595"/>
                  </a:cubicBezTo>
                  <a:cubicBezTo>
                    <a:pt x="834" y="598"/>
                    <a:pt x="831" y="600"/>
                    <a:pt x="829" y="603"/>
                  </a:cubicBezTo>
                  <a:cubicBezTo>
                    <a:pt x="826" y="605"/>
                    <a:pt x="822" y="606"/>
                    <a:pt x="820" y="609"/>
                  </a:cubicBezTo>
                  <a:cubicBezTo>
                    <a:pt x="818" y="612"/>
                    <a:pt x="818" y="616"/>
                    <a:pt x="817" y="620"/>
                  </a:cubicBezTo>
                  <a:cubicBezTo>
                    <a:pt x="812" y="623"/>
                    <a:pt x="807" y="625"/>
                    <a:pt x="803" y="628"/>
                  </a:cubicBezTo>
                  <a:cubicBezTo>
                    <a:pt x="799" y="632"/>
                    <a:pt x="792" y="639"/>
                    <a:pt x="793" y="644"/>
                  </a:cubicBezTo>
                  <a:close/>
                  <a:moveTo>
                    <a:pt x="942" y="369"/>
                  </a:moveTo>
                  <a:cubicBezTo>
                    <a:pt x="944" y="363"/>
                    <a:pt x="945" y="358"/>
                    <a:pt x="947" y="352"/>
                  </a:cubicBezTo>
                  <a:cubicBezTo>
                    <a:pt x="949" y="344"/>
                    <a:pt x="954" y="337"/>
                    <a:pt x="955" y="329"/>
                  </a:cubicBezTo>
                  <a:cubicBezTo>
                    <a:pt x="957" y="317"/>
                    <a:pt x="955" y="305"/>
                    <a:pt x="955" y="293"/>
                  </a:cubicBezTo>
                  <a:cubicBezTo>
                    <a:pt x="956" y="278"/>
                    <a:pt x="957" y="263"/>
                    <a:pt x="958" y="248"/>
                  </a:cubicBezTo>
                  <a:cubicBezTo>
                    <a:pt x="959" y="225"/>
                    <a:pt x="959" y="212"/>
                    <a:pt x="961" y="189"/>
                  </a:cubicBezTo>
                  <a:cubicBezTo>
                    <a:pt x="961" y="178"/>
                    <a:pt x="962" y="174"/>
                    <a:pt x="963" y="164"/>
                  </a:cubicBezTo>
                  <a:cubicBezTo>
                    <a:pt x="964" y="154"/>
                    <a:pt x="968" y="145"/>
                    <a:pt x="968" y="135"/>
                  </a:cubicBezTo>
                  <a:cubicBezTo>
                    <a:pt x="968" y="130"/>
                    <a:pt x="965" y="126"/>
                    <a:pt x="962" y="122"/>
                  </a:cubicBezTo>
                  <a:cubicBezTo>
                    <a:pt x="958" y="117"/>
                    <a:pt x="956" y="137"/>
                    <a:pt x="955" y="146"/>
                  </a:cubicBezTo>
                  <a:cubicBezTo>
                    <a:pt x="953" y="164"/>
                    <a:pt x="951" y="176"/>
                    <a:pt x="948" y="193"/>
                  </a:cubicBezTo>
                  <a:cubicBezTo>
                    <a:pt x="946" y="208"/>
                    <a:pt x="943" y="216"/>
                    <a:pt x="941" y="231"/>
                  </a:cubicBezTo>
                  <a:cubicBezTo>
                    <a:pt x="939" y="246"/>
                    <a:pt x="937" y="257"/>
                    <a:pt x="936" y="272"/>
                  </a:cubicBezTo>
                  <a:cubicBezTo>
                    <a:pt x="935" y="280"/>
                    <a:pt x="939" y="287"/>
                    <a:pt x="938" y="294"/>
                  </a:cubicBezTo>
                  <a:cubicBezTo>
                    <a:pt x="937" y="305"/>
                    <a:pt x="932" y="315"/>
                    <a:pt x="931" y="326"/>
                  </a:cubicBezTo>
                  <a:cubicBezTo>
                    <a:pt x="931" y="336"/>
                    <a:pt x="933" y="346"/>
                    <a:pt x="936" y="355"/>
                  </a:cubicBezTo>
                  <a:cubicBezTo>
                    <a:pt x="937" y="360"/>
                    <a:pt x="940" y="364"/>
                    <a:pt x="942" y="369"/>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97" name="Freeform 6">
              <a:extLst>
                <a:ext uri="{FF2B5EF4-FFF2-40B4-BE49-F238E27FC236}">
                  <a16:creationId xmlns:a16="http://schemas.microsoft.com/office/drawing/2014/main" id="{372FD804-1718-4CB8-B383-73D6E5C2216B}"/>
                </a:ext>
              </a:extLst>
            </p:cNvPr>
            <p:cNvSpPr>
              <a:spLocks/>
            </p:cNvSpPr>
            <p:nvPr/>
          </p:nvSpPr>
          <p:spPr bwMode="auto">
            <a:xfrm>
              <a:off x="1032023" y="4832582"/>
              <a:ext cx="358812" cy="235630"/>
            </a:xfrm>
            <a:custGeom>
              <a:avLst/>
              <a:gdLst/>
              <a:ahLst/>
              <a:cxnLst>
                <a:cxn ang="0">
                  <a:pos x="438" y="211"/>
                </a:cxn>
                <a:cxn ang="0">
                  <a:pos x="480" y="214"/>
                </a:cxn>
                <a:cxn ang="0">
                  <a:pos x="532" y="199"/>
                </a:cxn>
                <a:cxn ang="0">
                  <a:pos x="553" y="171"/>
                </a:cxn>
                <a:cxn ang="0">
                  <a:pos x="554" y="156"/>
                </a:cxn>
                <a:cxn ang="0">
                  <a:pos x="531" y="151"/>
                </a:cxn>
                <a:cxn ang="0">
                  <a:pos x="496" y="124"/>
                </a:cxn>
                <a:cxn ang="0">
                  <a:pos x="461" y="65"/>
                </a:cxn>
                <a:cxn ang="0">
                  <a:pos x="468" y="18"/>
                </a:cxn>
                <a:cxn ang="0">
                  <a:pos x="444" y="4"/>
                </a:cxn>
                <a:cxn ang="0">
                  <a:pos x="454" y="23"/>
                </a:cxn>
                <a:cxn ang="0">
                  <a:pos x="416" y="48"/>
                </a:cxn>
                <a:cxn ang="0">
                  <a:pos x="351" y="20"/>
                </a:cxn>
                <a:cxn ang="0">
                  <a:pos x="170" y="13"/>
                </a:cxn>
                <a:cxn ang="0">
                  <a:pos x="63" y="77"/>
                </a:cxn>
                <a:cxn ang="0">
                  <a:pos x="4" y="116"/>
                </a:cxn>
                <a:cxn ang="0">
                  <a:pos x="14" y="135"/>
                </a:cxn>
                <a:cxn ang="0">
                  <a:pos x="12" y="113"/>
                </a:cxn>
                <a:cxn ang="0">
                  <a:pos x="34" y="126"/>
                </a:cxn>
                <a:cxn ang="0">
                  <a:pos x="40" y="197"/>
                </a:cxn>
                <a:cxn ang="0">
                  <a:pos x="51" y="227"/>
                </a:cxn>
                <a:cxn ang="0">
                  <a:pos x="44" y="248"/>
                </a:cxn>
                <a:cxn ang="0">
                  <a:pos x="56" y="276"/>
                </a:cxn>
                <a:cxn ang="0">
                  <a:pos x="72" y="305"/>
                </a:cxn>
                <a:cxn ang="0">
                  <a:pos x="82" y="320"/>
                </a:cxn>
                <a:cxn ang="0">
                  <a:pos x="103" y="308"/>
                </a:cxn>
                <a:cxn ang="0">
                  <a:pos x="76" y="278"/>
                </a:cxn>
                <a:cxn ang="0">
                  <a:pos x="99" y="238"/>
                </a:cxn>
                <a:cxn ang="0">
                  <a:pos x="117" y="245"/>
                </a:cxn>
                <a:cxn ang="0">
                  <a:pos x="144" y="293"/>
                </a:cxn>
                <a:cxn ang="0">
                  <a:pos x="156" y="298"/>
                </a:cxn>
                <a:cxn ang="0">
                  <a:pos x="182" y="302"/>
                </a:cxn>
                <a:cxn ang="0">
                  <a:pos x="162" y="288"/>
                </a:cxn>
                <a:cxn ang="0">
                  <a:pos x="151" y="247"/>
                </a:cxn>
                <a:cxn ang="0">
                  <a:pos x="263" y="226"/>
                </a:cxn>
                <a:cxn ang="0">
                  <a:pos x="286" y="308"/>
                </a:cxn>
                <a:cxn ang="0">
                  <a:pos x="299" y="322"/>
                </a:cxn>
                <a:cxn ang="0">
                  <a:pos x="325" y="325"/>
                </a:cxn>
                <a:cxn ang="0">
                  <a:pos x="327" y="314"/>
                </a:cxn>
                <a:cxn ang="0">
                  <a:pos x="307" y="256"/>
                </a:cxn>
                <a:cxn ang="0">
                  <a:pos x="348" y="247"/>
                </a:cxn>
                <a:cxn ang="0">
                  <a:pos x="367" y="289"/>
                </a:cxn>
                <a:cxn ang="0">
                  <a:pos x="377" y="296"/>
                </a:cxn>
                <a:cxn ang="0">
                  <a:pos x="411" y="311"/>
                </a:cxn>
                <a:cxn ang="0">
                  <a:pos x="420" y="304"/>
                </a:cxn>
                <a:cxn ang="0">
                  <a:pos x="391" y="282"/>
                </a:cxn>
                <a:cxn ang="0">
                  <a:pos x="380" y="240"/>
                </a:cxn>
              </a:cxnLst>
              <a:rect l="0" t="0" r="r" b="b"/>
              <a:pathLst>
                <a:path w="559" h="328">
                  <a:moveTo>
                    <a:pt x="382" y="230"/>
                  </a:moveTo>
                  <a:cubicBezTo>
                    <a:pt x="390" y="226"/>
                    <a:pt x="409" y="219"/>
                    <a:pt x="413" y="211"/>
                  </a:cubicBezTo>
                  <a:cubicBezTo>
                    <a:pt x="420" y="215"/>
                    <a:pt x="429" y="216"/>
                    <a:pt x="438" y="211"/>
                  </a:cubicBezTo>
                  <a:cubicBezTo>
                    <a:pt x="441" y="211"/>
                    <a:pt x="444" y="212"/>
                    <a:pt x="446" y="213"/>
                  </a:cubicBezTo>
                  <a:cubicBezTo>
                    <a:pt x="451" y="214"/>
                    <a:pt x="456" y="216"/>
                    <a:pt x="461" y="217"/>
                  </a:cubicBezTo>
                  <a:cubicBezTo>
                    <a:pt x="467" y="217"/>
                    <a:pt x="474" y="216"/>
                    <a:pt x="480" y="214"/>
                  </a:cubicBezTo>
                  <a:cubicBezTo>
                    <a:pt x="487" y="212"/>
                    <a:pt x="494" y="207"/>
                    <a:pt x="501" y="203"/>
                  </a:cubicBezTo>
                  <a:cubicBezTo>
                    <a:pt x="510" y="204"/>
                    <a:pt x="516" y="200"/>
                    <a:pt x="524" y="195"/>
                  </a:cubicBezTo>
                  <a:cubicBezTo>
                    <a:pt x="525" y="199"/>
                    <a:pt x="530" y="200"/>
                    <a:pt x="532" y="199"/>
                  </a:cubicBezTo>
                  <a:cubicBezTo>
                    <a:pt x="536" y="198"/>
                    <a:pt x="538" y="197"/>
                    <a:pt x="540" y="194"/>
                  </a:cubicBezTo>
                  <a:cubicBezTo>
                    <a:pt x="543" y="191"/>
                    <a:pt x="544" y="186"/>
                    <a:pt x="546" y="183"/>
                  </a:cubicBezTo>
                  <a:cubicBezTo>
                    <a:pt x="548" y="179"/>
                    <a:pt x="550" y="175"/>
                    <a:pt x="553" y="171"/>
                  </a:cubicBezTo>
                  <a:cubicBezTo>
                    <a:pt x="554" y="168"/>
                    <a:pt x="557" y="165"/>
                    <a:pt x="558" y="162"/>
                  </a:cubicBezTo>
                  <a:cubicBezTo>
                    <a:pt x="559" y="160"/>
                    <a:pt x="559" y="158"/>
                    <a:pt x="558" y="157"/>
                  </a:cubicBezTo>
                  <a:cubicBezTo>
                    <a:pt x="557" y="156"/>
                    <a:pt x="555" y="156"/>
                    <a:pt x="554" y="156"/>
                  </a:cubicBezTo>
                  <a:cubicBezTo>
                    <a:pt x="551" y="156"/>
                    <a:pt x="549" y="157"/>
                    <a:pt x="547" y="158"/>
                  </a:cubicBezTo>
                  <a:cubicBezTo>
                    <a:pt x="544" y="155"/>
                    <a:pt x="544" y="155"/>
                    <a:pt x="539" y="156"/>
                  </a:cubicBezTo>
                  <a:cubicBezTo>
                    <a:pt x="537" y="151"/>
                    <a:pt x="536" y="152"/>
                    <a:pt x="531" y="151"/>
                  </a:cubicBezTo>
                  <a:cubicBezTo>
                    <a:pt x="529" y="148"/>
                    <a:pt x="527" y="144"/>
                    <a:pt x="524" y="142"/>
                  </a:cubicBezTo>
                  <a:cubicBezTo>
                    <a:pt x="520" y="139"/>
                    <a:pt x="516" y="137"/>
                    <a:pt x="512" y="134"/>
                  </a:cubicBezTo>
                  <a:cubicBezTo>
                    <a:pt x="506" y="131"/>
                    <a:pt x="500" y="129"/>
                    <a:pt x="496" y="124"/>
                  </a:cubicBezTo>
                  <a:cubicBezTo>
                    <a:pt x="491" y="118"/>
                    <a:pt x="490" y="111"/>
                    <a:pt x="487" y="105"/>
                  </a:cubicBezTo>
                  <a:cubicBezTo>
                    <a:pt x="483" y="97"/>
                    <a:pt x="480" y="90"/>
                    <a:pt x="475" y="82"/>
                  </a:cubicBezTo>
                  <a:cubicBezTo>
                    <a:pt x="471" y="76"/>
                    <a:pt x="466" y="71"/>
                    <a:pt x="461" y="65"/>
                  </a:cubicBezTo>
                  <a:cubicBezTo>
                    <a:pt x="464" y="60"/>
                    <a:pt x="468" y="56"/>
                    <a:pt x="469" y="51"/>
                  </a:cubicBezTo>
                  <a:cubicBezTo>
                    <a:pt x="470" y="45"/>
                    <a:pt x="467" y="39"/>
                    <a:pt x="467" y="33"/>
                  </a:cubicBezTo>
                  <a:cubicBezTo>
                    <a:pt x="467" y="28"/>
                    <a:pt x="468" y="23"/>
                    <a:pt x="468" y="18"/>
                  </a:cubicBezTo>
                  <a:cubicBezTo>
                    <a:pt x="467" y="14"/>
                    <a:pt x="466" y="9"/>
                    <a:pt x="463" y="6"/>
                  </a:cubicBezTo>
                  <a:cubicBezTo>
                    <a:pt x="461" y="3"/>
                    <a:pt x="458" y="2"/>
                    <a:pt x="454" y="1"/>
                  </a:cubicBezTo>
                  <a:cubicBezTo>
                    <a:pt x="450" y="1"/>
                    <a:pt x="444" y="3"/>
                    <a:pt x="444" y="4"/>
                  </a:cubicBezTo>
                  <a:cubicBezTo>
                    <a:pt x="444" y="5"/>
                    <a:pt x="450" y="5"/>
                    <a:pt x="452" y="7"/>
                  </a:cubicBezTo>
                  <a:cubicBezTo>
                    <a:pt x="454" y="8"/>
                    <a:pt x="456" y="10"/>
                    <a:pt x="457" y="13"/>
                  </a:cubicBezTo>
                  <a:cubicBezTo>
                    <a:pt x="457" y="16"/>
                    <a:pt x="456" y="20"/>
                    <a:pt x="454" y="23"/>
                  </a:cubicBezTo>
                  <a:cubicBezTo>
                    <a:pt x="452" y="28"/>
                    <a:pt x="448" y="32"/>
                    <a:pt x="445" y="37"/>
                  </a:cubicBezTo>
                  <a:cubicBezTo>
                    <a:pt x="441" y="41"/>
                    <a:pt x="437" y="45"/>
                    <a:pt x="434" y="50"/>
                  </a:cubicBezTo>
                  <a:cubicBezTo>
                    <a:pt x="428" y="49"/>
                    <a:pt x="421" y="49"/>
                    <a:pt x="416" y="48"/>
                  </a:cubicBezTo>
                  <a:cubicBezTo>
                    <a:pt x="412" y="48"/>
                    <a:pt x="409" y="47"/>
                    <a:pt x="406" y="46"/>
                  </a:cubicBezTo>
                  <a:cubicBezTo>
                    <a:pt x="401" y="44"/>
                    <a:pt x="395" y="44"/>
                    <a:pt x="390" y="42"/>
                  </a:cubicBezTo>
                  <a:cubicBezTo>
                    <a:pt x="377" y="35"/>
                    <a:pt x="365" y="25"/>
                    <a:pt x="351" y="20"/>
                  </a:cubicBezTo>
                  <a:cubicBezTo>
                    <a:pt x="331" y="12"/>
                    <a:pt x="309" y="6"/>
                    <a:pt x="287" y="2"/>
                  </a:cubicBezTo>
                  <a:cubicBezTo>
                    <a:pt x="269" y="0"/>
                    <a:pt x="251" y="1"/>
                    <a:pt x="232" y="2"/>
                  </a:cubicBezTo>
                  <a:cubicBezTo>
                    <a:pt x="211" y="4"/>
                    <a:pt x="190" y="7"/>
                    <a:pt x="170" y="13"/>
                  </a:cubicBezTo>
                  <a:cubicBezTo>
                    <a:pt x="158" y="17"/>
                    <a:pt x="146" y="24"/>
                    <a:pt x="135" y="30"/>
                  </a:cubicBezTo>
                  <a:cubicBezTo>
                    <a:pt x="120" y="39"/>
                    <a:pt x="105" y="47"/>
                    <a:pt x="90" y="56"/>
                  </a:cubicBezTo>
                  <a:cubicBezTo>
                    <a:pt x="81" y="63"/>
                    <a:pt x="72" y="70"/>
                    <a:pt x="63" y="77"/>
                  </a:cubicBezTo>
                  <a:cubicBezTo>
                    <a:pt x="55" y="84"/>
                    <a:pt x="47" y="93"/>
                    <a:pt x="42" y="102"/>
                  </a:cubicBezTo>
                  <a:cubicBezTo>
                    <a:pt x="33" y="98"/>
                    <a:pt x="12" y="89"/>
                    <a:pt x="4" y="99"/>
                  </a:cubicBezTo>
                  <a:cubicBezTo>
                    <a:pt x="0" y="104"/>
                    <a:pt x="2" y="111"/>
                    <a:pt x="4" y="116"/>
                  </a:cubicBezTo>
                  <a:cubicBezTo>
                    <a:pt x="5" y="120"/>
                    <a:pt x="8" y="123"/>
                    <a:pt x="10" y="126"/>
                  </a:cubicBezTo>
                  <a:cubicBezTo>
                    <a:pt x="12" y="132"/>
                    <a:pt x="11" y="138"/>
                    <a:pt x="11" y="144"/>
                  </a:cubicBezTo>
                  <a:cubicBezTo>
                    <a:pt x="13" y="141"/>
                    <a:pt x="13" y="138"/>
                    <a:pt x="14" y="135"/>
                  </a:cubicBezTo>
                  <a:cubicBezTo>
                    <a:pt x="16" y="141"/>
                    <a:pt x="15" y="147"/>
                    <a:pt x="13" y="153"/>
                  </a:cubicBezTo>
                  <a:cubicBezTo>
                    <a:pt x="18" y="146"/>
                    <a:pt x="21" y="136"/>
                    <a:pt x="19" y="127"/>
                  </a:cubicBezTo>
                  <a:cubicBezTo>
                    <a:pt x="18" y="122"/>
                    <a:pt x="14" y="117"/>
                    <a:pt x="12" y="113"/>
                  </a:cubicBezTo>
                  <a:cubicBezTo>
                    <a:pt x="11" y="109"/>
                    <a:pt x="8" y="103"/>
                    <a:pt x="14" y="102"/>
                  </a:cubicBezTo>
                  <a:cubicBezTo>
                    <a:pt x="23" y="99"/>
                    <a:pt x="30" y="105"/>
                    <a:pt x="38" y="110"/>
                  </a:cubicBezTo>
                  <a:cubicBezTo>
                    <a:pt x="36" y="115"/>
                    <a:pt x="34" y="120"/>
                    <a:pt x="34" y="126"/>
                  </a:cubicBezTo>
                  <a:cubicBezTo>
                    <a:pt x="33" y="133"/>
                    <a:pt x="31" y="141"/>
                    <a:pt x="32" y="148"/>
                  </a:cubicBezTo>
                  <a:cubicBezTo>
                    <a:pt x="32" y="159"/>
                    <a:pt x="34" y="170"/>
                    <a:pt x="36" y="181"/>
                  </a:cubicBezTo>
                  <a:cubicBezTo>
                    <a:pt x="37" y="186"/>
                    <a:pt x="39" y="192"/>
                    <a:pt x="40" y="197"/>
                  </a:cubicBezTo>
                  <a:cubicBezTo>
                    <a:pt x="42" y="201"/>
                    <a:pt x="43" y="205"/>
                    <a:pt x="45" y="209"/>
                  </a:cubicBezTo>
                  <a:cubicBezTo>
                    <a:pt x="47" y="213"/>
                    <a:pt x="49" y="216"/>
                    <a:pt x="50" y="220"/>
                  </a:cubicBezTo>
                  <a:cubicBezTo>
                    <a:pt x="51" y="222"/>
                    <a:pt x="52" y="225"/>
                    <a:pt x="51" y="227"/>
                  </a:cubicBezTo>
                  <a:cubicBezTo>
                    <a:pt x="51" y="231"/>
                    <a:pt x="49" y="234"/>
                    <a:pt x="48" y="237"/>
                  </a:cubicBezTo>
                  <a:cubicBezTo>
                    <a:pt x="47" y="239"/>
                    <a:pt x="45" y="240"/>
                    <a:pt x="45" y="243"/>
                  </a:cubicBezTo>
                  <a:cubicBezTo>
                    <a:pt x="44" y="244"/>
                    <a:pt x="44" y="246"/>
                    <a:pt x="44" y="248"/>
                  </a:cubicBezTo>
                  <a:cubicBezTo>
                    <a:pt x="45" y="250"/>
                    <a:pt x="46" y="252"/>
                    <a:pt x="47" y="255"/>
                  </a:cubicBezTo>
                  <a:cubicBezTo>
                    <a:pt x="48" y="258"/>
                    <a:pt x="51" y="260"/>
                    <a:pt x="52" y="263"/>
                  </a:cubicBezTo>
                  <a:cubicBezTo>
                    <a:pt x="54" y="267"/>
                    <a:pt x="54" y="272"/>
                    <a:pt x="56" y="276"/>
                  </a:cubicBezTo>
                  <a:cubicBezTo>
                    <a:pt x="58" y="283"/>
                    <a:pt x="61" y="288"/>
                    <a:pt x="63" y="295"/>
                  </a:cubicBezTo>
                  <a:cubicBezTo>
                    <a:pt x="64" y="299"/>
                    <a:pt x="63" y="304"/>
                    <a:pt x="66" y="307"/>
                  </a:cubicBezTo>
                  <a:cubicBezTo>
                    <a:pt x="67" y="309"/>
                    <a:pt x="68" y="304"/>
                    <a:pt x="72" y="305"/>
                  </a:cubicBezTo>
                  <a:cubicBezTo>
                    <a:pt x="72" y="306"/>
                    <a:pt x="72" y="308"/>
                    <a:pt x="73" y="309"/>
                  </a:cubicBezTo>
                  <a:cubicBezTo>
                    <a:pt x="74" y="311"/>
                    <a:pt x="74" y="313"/>
                    <a:pt x="75" y="315"/>
                  </a:cubicBezTo>
                  <a:cubicBezTo>
                    <a:pt x="77" y="317"/>
                    <a:pt x="79" y="319"/>
                    <a:pt x="82" y="320"/>
                  </a:cubicBezTo>
                  <a:cubicBezTo>
                    <a:pt x="85" y="322"/>
                    <a:pt x="89" y="323"/>
                    <a:pt x="92" y="323"/>
                  </a:cubicBezTo>
                  <a:cubicBezTo>
                    <a:pt x="97" y="323"/>
                    <a:pt x="104" y="323"/>
                    <a:pt x="108" y="321"/>
                  </a:cubicBezTo>
                  <a:cubicBezTo>
                    <a:pt x="109" y="318"/>
                    <a:pt x="105" y="310"/>
                    <a:pt x="103" y="308"/>
                  </a:cubicBezTo>
                  <a:cubicBezTo>
                    <a:pt x="99" y="304"/>
                    <a:pt x="93" y="302"/>
                    <a:pt x="86" y="298"/>
                  </a:cubicBezTo>
                  <a:cubicBezTo>
                    <a:pt x="83" y="296"/>
                    <a:pt x="83" y="292"/>
                    <a:pt x="81" y="289"/>
                  </a:cubicBezTo>
                  <a:cubicBezTo>
                    <a:pt x="79" y="285"/>
                    <a:pt x="77" y="282"/>
                    <a:pt x="76" y="278"/>
                  </a:cubicBezTo>
                  <a:cubicBezTo>
                    <a:pt x="75" y="273"/>
                    <a:pt x="73" y="267"/>
                    <a:pt x="74" y="262"/>
                  </a:cubicBezTo>
                  <a:cubicBezTo>
                    <a:pt x="76" y="258"/>
                    <a:pt x="81" y="255"/>
                    <a:pt x="84" y="252"/>
                  </a:cubicBezTo>
                  <a:cubicBezTo>
                    <a:pt x="89" y="247"/>
                    <a:pt x="95" y="243"/>
                    <a:pt x="99" y="238"/>
                  </a:cubicBezTo>
                  <a:cubicBezTo>
                    <a:pt x="106" y="230"/>
                    <a:pt x="104" y="222"/>
                    <a:pt x="113" y="217"/>
                  </a:cubicBezTo>
                  <a:cubicBezTo>
                    <a:pt x="114" y="220"/>
                    <a:pt x="116" y="224"/>
                    <a:pt x="116" y="227"/>
                  </a:cubicBezTo>
                  <a:cubicBezTo>
                    <a:pt x="116" y="231"/>
                    <a:pt x="115" y="242"/>
                    <a:pt x="117" y="245"/>
                  </a:cubicBezTo>
                  <a:cubicBezTo>
                    <a:pt x="122" y="253"/>
                    <a:pt x="128" y="260"/>
                    <a:pt x="131" y="269"/>
                  </a:cubicBezTo>
                  <a:cubicBezTo>
                    <a:pt x="133" y="274"/>
                    <a:pt x="137" y="277"/>
                    <a:pt x="139" y="282"/>
                  </a:cubicBezTo>
                  <a:cubicBezTo>
                    <a:pt x="140" y="286"/>
                    <a:pt x="143" y="289"/>
                    <a:pt x="144" y="293"/>
                  </a:cubicBezTo>
                  <a:cubicBezTo>
                    <a:pt x="146" y="298"/>
                    <a:pt x="149" y="302"/>
                    <a:pt x="154" y="300"/>
                  </a:cubicBezTo>
                  <a:cubicBezTo>
                    <a:pt x="155" y="300"/>
                    <a:pt x="152" y="298"/>
                    <a:pt x="153" y="295"/>
                  </a:cubicBezTo>
                  <a:cubicBezTo>
                    <a:pt x="154" y="297"/>
                    <a:pt x="156" y="296"/>
                    <a:pt x="156" y="298"/>
                  </a:cubicBezTo>
                  <a:cubicBezTo>
                    <a:pt x="157" y="302"/>
                    <a:pt x="154" y="308"/>
                    <a:pt x="165" y="309"/>
                  </a:cubicBezTo>
                  <a:cubicBezTo>
                    <a:pt x="168" y="310"/>
                    <a:pt x="181" y="311"/>
                    <a:pt x="185" y="309"/>
                  </a:cubicBezTo>
                  <a:cubicBezTo>
                    <a:pt x="186" y="309"/>
                    <a:pt x="185" y="304"/>
                    <a:pt x="182" y="302"/>
                  </a:cubicBezTo>
                  <a:cubicBezTo>
                    <a:pt x="183" y="302"/>
                    <a:pt x="184" y="302"/>
                    <a:pt x="184" y="302"/>
                  </a:cubicBezTo>
                  <a:cubicBezTo>
                    <a:pt x="185" y="297"/>
                    <a:pt x="176" y="293"/>
                    <a:pt x="172" y="292"/>
                  </a:cubicBezTo>
                  <a:cubicBezTo>
                    <a:pt x="169" y="292"/>
                    <a:pt x="164" y="290"/>
                    <a:pt x="162" y="288"/>
                  </a:cubicBezTo>
                  <a:cubicBezTo>
                    <a:pt x="159" y="286"/>
                    <a:pt x="157" y="283"/>
                    <a:pt x="155" y="279"/>
                  </a:cubicBezTo>
                  <a:cubicBezTo>
                    <a:pt x="153" y="273"/>
                    <a:pt x="150" y="266"/>
                    <a:pt x="149" y="259"/>
                  </a:cubicBezTo>
                  <a:cubicBezTo>
                    <a:pt x="148" y="255"/>
                    <a:pt x="149" y="251"/>
                    <a:pt x="151" y="247"/>
                  </a:cubicBezTo>
                  <a:cubicBezTo>
                    <a:pt x="152" y="240"/>
                    <a:pt x="158" y="237"/>
                    <a:pt x="158" y="230"/>
                  </a:cubicBezTo>
                  <a:cubicBezTo>
                    <a:pt x="158" y="224"/>
                    <a:pt x="161" y="219"/>
                    <a:pt x="161" y="214"/>
                  </a:cubicBezTo>
                  <a:cubicBezTo>
                    <a:pt x="203" y="228"/>
                    <a:pt x="243" y="231"/>
                    <a:pt x="263" y="226"/>
                  </a:cubicBezTo>
                  <a:cubicBezTo>
                    <a:pt x="267" y="237"/>
                    <a:pt x="270" y="248"/>
                    <a:pt x="274" y="260"/>
                  </a:cubicBezTo>
                  <a:cubicBezTo>
                    <a:pt x="277" y="270"/>
                    <a:pt x="282" y="280"/>
                    <a:pt x="284" y="290"/>
                  </a:cubicBezTo>
                  <a:cubicBezTo>
                    <a:pt x="286" y="296"/>
                    <a:pt x="285" y="302"/>
                    <a:pt x="286" y="308"/>
                  </a:cubicBezTo>
                  <a:cubicBezTo>
                    <a:pt x="287" y="312"/>
                    <a:pt x="288" y="318"/>
                    <a:pt x="291" y="320"/>
                  </a:cubicBezTo>
                  <a:cubicBezTo>
                    <a:pt x="294" y="321"/>
                    <a:pt x="292" y="316"/>
                    <a:pt x="295" y="313"/>
                  </a:cubicBezTo>
                  <a:cubicBezTo>
                    <a:pt x="297" y="316"/>
                    <a:pt x="297" y="320"/>
                    <a:pt x="299" y="322"/>
                  </a:cubicBezTo>
                  <a:cubicBezTo>
                    <a:pt x="302" y="325"/>
                    <a:pt x="305" y="327"/>
                    <a:pt x="308" y="327"/>
                  </a:cubicBezTo>
                  <a:cubicBezTo>
                    <a:pt x="312" y="328"/>
                    <a:pt x="315" y="328"/>
                    <a:pt x="318" y="327"/>
                  </a:cubicBezTo>
                  <a:cubicBezTo>
                    <a:pt x="320" y="327"/>
                    <a:pt x="323" y="326"/>
                    <a:pt x="325" y="325"/>
                  </a:cubicBezTo>
                  <a:cubicBezTo>
                    <a:pt x="326" y="324"/>
                    <a:pt x="328" y="323"/>
                    <a:pt x="328" y="321"/>
                  </a:cubicBezTo>
                  <a:cubicBezTo>
                    <a:pt x="328" y="319"/>
                    <a:pt x="326" y="317"/>
                    <a:pt x="325" y="316"/>
                  </a:cubicBezTo>
                  <a:cubicBezTo>
                    <a:pt x="326" y="316"/>
                    <a:pt x="328" y="315"/>
                    <a:pt x="327" y="314"/>
                  </a:cubicBezTo>
                  <a:cubicBezTo>
                    <a:pt x="324" y="308"/>
                    <a:pt x="318" y="310"/>
                    <a:pt x="314" y="305"/>
                  </a:cubicBezTo>
                  <a:cubicBezTo>
                    <a:pt x="310" y="302"/>
                    <a:pt x="308" y="296"/>
                    <a:pt x="308" y="291"/>
                  </a:cubicBezTo>
                  <a:cubicBezTo>
                    <a:pt x="306" y="280"/>
                    <a:pt x="307" y="268"/>
                    <a:pt x="307" y="256"/>
                  </a:cubicBezTo>
                  <a:cubicBezTo>
                    <a:pt x="307" y="246"/>
                    <a:pt x="308" y="237"/>
                    <a:pt x="308" y="227"/>
                  </a:cubicBezTo>
                  <a:cubicBezTo>
                    <a:pt x="320" y="229"/>
                    <a:pt x="329" y="229"/>
                    <a:pt x="339" y="230"/>
                  </a:cubicBezTo>
                  <a:cubicBezTo>
                    <a:pt x="342" y="236"/>
                    <a:pt x="345" y="242"/>
                    <a:pt x="348" y="247"/>
                  </a:cubicBezTo>
                  <a:cubicBezTo>
                    <a:pt x="350" y="252"/>
                    <a:pt x="352" y="257"/>
                    <a:pt x="354" y="261"/>
                  </a:cubicBezTo>
                  <a:cubicBezTo>
                    <a:pt x="357" y="267"/>
                    <a:pt x="361" y="273"/>
                    <a:pt x="364" y="280"/>
                  </a:cubicBezTo>
                  <a:cubicBezTo>
                    <a:pt x="366" y="283"/>
                    <a:pt x="367" y="286"/>
                    <a:pt x="367" y="289"/>
                  </a:cubicBezTo>
                  <a:cubicBezTo>
                    <a:pt x="368" y="292"/>
                    <a:pt x="369" y="294"/>
                    <a:pt x="370" y="297"/>
                  </a:cubicBezTo>
                  <a:cubicBezTo>
                    <a:pt x="371" y="300"/>
                    <a:pt x="373" y="303"/>
                    <a:pt x="374" y="304"/>
                  </a:cubicBezTo>
                  <a:cubicBezTo>
                    <a:pt x="377" y="304"/>
                    <a:pt x="373" y="300"/>
                    <a:pt x="377" y="296"/>
                  </a:cubicBezTo>
                  <a:cubicBezTo>
                    <a:pt x="378" y="299"/>
                    <a:pt x="378" y="305"/>
                    <a:pt x="380" y="307"/>
                  </a:cubicBezTo>
                  <a:cubicBezTo>
                    <a:pt x="383" y="310"/>
                    <a:pt x="388" y="311"/>
                    <a:pt x="393" y="311"/>
                  </a:cubicBezTo>
                  <a:cubicBezTo>
                    <a:pt x="397" y="312"/>
                    <a:pt x="407" y="311"/>
                    <a:pt x="411" y="311"/>
                  </a:cubicBezTo>
                  <a:cubicBezTo>
                    <a:pt x="413" y="310"/>
                    <a:pt x="415" y="310"/>
                    <a:pt x="416" y="308"/>
                  </a:cubicBezTo>
                  <a:cubicBezTo>
                    <a:pt x="416" y="308"/>
                    <a:pt x="415" y="306"/>
                    <a:pt x="415" y="305"/>
                  </a:cubicBezTo>
                  <a:cubicBezTo>
                    <a:pt x="420" y="305"/>
                    <a:pt x="420" y="305"/>
                    <a:pt x="420" y="304"/>
                  </a:cubicBezTo>
                  <a:cubicBezTo>
                    <a:pt x="420" y="299"/>
                    <a:pt x="417" y="297"/>
                    <a:pt x="415" y="295"/>
                  </a:cubicBezTo>
                  <a:cubicBezTo>
                    <a:pt x="412" y="292"/>
                    <a:pt x="408" y="293"/>
                    <a:pt x="404" y="290"/>
                  </a:cubicBezTo>
                  <a:cubicBezTo>
                    <a:pt x="400" y="287"/>
                    <a:pt x="395" y="286"/>
                    <a:pt x="391" y="282"/>
                  </a:cubicBezTo>
                  <a:cubicBezTo>
                    <a:pt x="388" y="278"/>
                    <a:pt x="385" y="273"/>
                    <a:pt x="383" y="268"/>
                  </a:cubicBezTo>
                  <a:cubicBezTo>
                    <a:pt x="380" y="263"/>
                    <a:pt x="379" y="258"/>
                    <a:pt x="379" y="253"/>
                  </a:cubicBezTo>
                  <a:cubicBezTo>
                    <a:pt x="378" y="249"/>
                    <a:pt x="380" y="245"/>
                    <a:pt x="380" y="240"/>
                  </a:cubicBezTo>
                  <a:cubicBezTo>
                    <a:pt x="381" y="237"/>
                    <a:pt x="381" y="233"/>
                    <a:pt x="382" y="23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98" name="Rectangle 97">
            <a:extLst>
              <a:ext uri="{FF2B5EF4-FFF2-40B4-BE49-F238E27FC236}">
                <a16:creationId xmlns:a16="http://schemas.microsoft.com/office/drawing/2014/main" id="{A55BAFA3-9EB3-4542-A07D-694C4D365C18}"/>
              </a:ext>
            </a:extLst>
          </p:cNvPr>
          <p:cNvSpPr>
            <a:spLocks/>
          </p:cNvSpPr>
          <p:nvPr/>
        </p:nvSpPr>
        <p:spPr>
          <a:xfrm>
            <a:off x="498662"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a:t>
            </a:r>
            <a:r>
              <a:rPr lang="en-US" sz="900" dirty="0" err="1">
                <a:solidFill>
                  <a:schemeClr val="bg1"/>
                </a:solidFill>
              </a:rPr>
              <a:t>water_L</a:t>
            </a:r>
            <a:r>
              <a:rPr lang="en-US" sz="900" dirty="0">
                <a:solidFill>
                  <a:schemeClr val="bg1"/>
                </a:solidFill>
              </a:rPr>
              <a:t>} liters of water saved annually</a:t>
            </a:r>
          </a:p>
        </p:txBody>
      </p:sp>
      <p:sp>
        <p:nvSpPr>
          <p:cNvPr id="99" name="Rectangle 98">
            <a:extLst>
              <a:ext uri="{FF2B5EF4-FFF2-40B4-BE49-F238E27FC236}">
                <a16:creationId xmlns:a16="http://schemas.microsoft.com/office/drawing/2014/main" id="{D4F4BF20-758E-4BBA-BD7E-32DC4E6AE34E}"/>
              </a:ext>
            </a:extLst>
          </p:cNvPr>
          <p:cNvSpPr>
            <a:spLocks/>
          </p:cNvSpPr>
          <p:nvPr/>
        </p:nvSpPr>
        <p:spPr>
          <a:xfrm>
            <a:off x="1620426"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lives} lives saved annually</a:t>
            </a:r>
          </a:p>
        </p:txBody>
      </p:sp>
      <p:sp>
        <p:nvSpPr>
          <p:cNvPr id="101" name="Rectangle 100">
            <a:extLst>
              <a:ext uri="{FF2B5EF4-FFF2-40B4-BE49-F238E27FC236}">
                <a16:creationId xmlns:a16="http://schemas.microsoft.com/office/drawing/2014/main" id="{36831D91-77B2-4D53-BBB5-E651A19D578F}"/>
              </a:ext>
            </a:extLst>
          </p:cNvPr>
          <p:cNvSpPr>
            <a:spLocks/>
          </p:cNvSpPr>
          <p:nvPr/>
        </p:nvSpPr>
        <p:spPr>
          <a:xfrm>
            <a:off x="2742192"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a:t>
            </a:r>
            <a:r>
              <a:rPr lang="en-US" sz="900" dirty="0" err="1">
                <a:solidFill>
                  <a:schemeClr val="bg1"/>
                </a:solidFill>
              </a:rPr>
              <a:t>tree_num</a:t>
            </a:r>
            <a:r>
              <a:rPr lang="en-US" sz="900" dirty="0">
                <a:solidFill>
                  <a:schemeClr val="bg1"/>
                </a:solidFill>
              </a:rPr>
              <a:t>} tress needed to absorb the same amount of CO2 annually</a:t>
            </a:r>
          </a:p>
        </p:txBody>
      </p:sp>
      <p:sp>
        <p:nvSpPr>
          <p:cNvPr id="102" name="Rectangle 101">
            <a:extLst>
              <a:ext uri="{FF2B5EF4-FFF2-40B4-BE49-F238E27FC236}">
                <a16:creationId xmlns:a16="http://schemas.microsoft.com/office/drawing/2014/main" id="{428446E7-46E2-43B5-8B72-5C026EFF8B0F}"/>
              </a:ext>
            </a:extLst>
          </p:cNvPr>
          <p:cNvSpPr/>
          <p:nvPr/>
        </p:nvSpPr>
        <p:spPr>
          <a:xfrm>
            <a:off x="3954437" y="4512953"/>
            <a:ext cx="836786" cy="461665"/>
          </a:xfrm>
          <a:prstGeom prst="rect">
            <a:avLst/>
          </a:prstGeom>
          <a:solidFill>
            <a:schemeClr val="accent1"/>
          </a:solidFill>
        </p:spPr>
        <p:txBody>
          <a:bodyPr wrap="square" lIns="91440" tIns="45720" rIns="91440" bIns="45720">
            <a:spAutoFit/>
          </a:bodyPr>
          <a:lstStyle/>
          <a:p>
            <a:pPr algn="ctr"/>
            <a:r>
              <a:rPr lang="en-US" sz="2400" b="1" spc="50" dirty="0">
                <a:ln w="9525" cmpd="sng">
                  <a:solidFill>
                    <a:schemeClr val="accent1"/>
                  </a:solidFill>
                  <a:prstDash val="solid"/>
                </a:ln>
                <a:solidFill>
                  <a:srgbClr val="70AD47">
                    <a:tint val="1000"/>
                  </a:srgbClr>
                </a:solidFill>
                <a:effectLst>
                  <a:glow rad="38100">
                    <a:schemeClr val="accent1">
                      <a:alpha val="40000"/>
                    </a:schemeClr>
                  </a:glow>
                </a:effectLst>
              </a:rPr>
              <a:t>CO2</a:t>
            </a:r>
          </a:p>
        </p:txBody>
      </p:sp>
      <p:sp>
        <p:nvSpPr>
          <p:cNvPr id="103" name="Rectangle 102">
            <a:extLst>
              <a:ext uri="{FF2B5EF4-FFF2-40B4-BE49-F238E27FC236}">
                <a16:creationId xmlns:a16="http://schemas.microsoft.com/office/drawing/2014/main" id="{5B25B265-0002-41B5-98D9-8EEF661572A0}"/>
              </a:ext>
            </a:extLst>
          </p:cNvPr>
          <p:cNvSpPr>
            <a:spLocks/>
          </p:cNvSpPr>
          <p:nvPr/>
        </p:nvSpPr>
        <p:spPr>
          <a:xfrm>
            <a:off x="3863956" y="5243126"/>
            <a:ext cx="1010735" cy="690284"/>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a:solidFill>
                  <a:schemeClr val="bg1"/>
                </a:solidFill>
              </a:rPr>
              <a:t>{co2} tons of carbon emission prevented annually</a:t>
            </a:r>
          </a:p>
        </p:txBody>
      </p:sp>
      <p:sp>
        <p:nvSpPr>
          <p:cNvPr id="76" name="Rectangle 75">
            <a:extLst>
              <a:ext uri="{FF2B5EF4-FFF2-40B4-BE49-F238E27FC236}">
                <a16:creationId xmlns:a16="http://schemas.microsoft.com/office/drawing/2014/main" id="{06D34228-F3A7-4CC0-9E2F-02E785470F09}"/>
              </a:ext>
            </a:extLst>
          </p:cNvPr>
          <p:cNvSpPr/>
          <p:nvPr/>
        </p:nvSpPr>
        <p:spPr>
          <a:xfrm>
            <a:off x="5046663" y="1445260"/>
            <a:ext cx="4357764" cy="284518"/>
          </a:xfrm>
          <a:prstGeom prst="rect">
            <a:avLst/>
          </a:prstGeom>
          <a:solidFill>
            <a:srgbClr val="00338D"/>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1100" b="1" dirty="0">
                <a:solidFill>
                  <a:prstClr val="white"/>
                </a:solidFill>
                <a:latin typeface="Arial"/>
              </a:rPr>
              <a:t>Business overview</a:t>
            </a:r>
          </a:p>
        </p:txBody>
      </p:sp>
    </p:spTree>
    <p:extLst>
      <p:ext uri="{BB962C8B-B14F-4D97-AF65-F5344CB8AC3E}">
        <p14:creationId xmlns:p14="http://schemas.microsoft.com/office/powerpoint/2010/main" val="3294274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951" y="451575"/>
            <a:ext cx="8918244" cy="404664"/>
          </a:xfrm>
        </p:spPr>
        <p:txBody>
          <a:bodyPr anchor="ctr"/>
          <a:lstStyle/>
          <a:p>
            <a:r>
              <a:rPr lang="en-GB" dirty="0"/>
              <a:t>Geographic presence</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a:t>{company_name} | Asset pack</a:t>
            </a:r>
            <a:endParaRPr lang="en-US" sz="900" dirty="0">
              <a:solidFill>
                <a:srgbClr val="00338D"/>
              </a:solidFill>
            </a:endParaRPr>
          </a:p>
        </p:txBody>
      </p:sp>
      <p:sp>
        <p:nvSpPr>
          <p:cNvPr id="70" name="Freeform 262">
            <a:extLst>
              <a:ext uri="{FF2B5EF4-FFF2-40B4-BE49-F238E27FC236}">
                <a16:creationId xmlns:a16="http://schemas.microsoft.com/office/drawing/2014/main" id="{B944D90A-821A-41EA-9797-A51E497BEB25}"/>
              </a:ext>
            </a:extLst>
          </p:cNvPr>
          <p:cNvSpPr>
            <a:spLocks noChangeAspect="1"/>
          </p:cNvSpPr>
          <p:nvPr/>
        </p:nvSpPr>
        <p:spPr bwMode="gray">
          <a:xfrm>
            <a:off x="2505079" y="4205350"/>
            <a:ext cx="106583" cy="96105"/>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1" name="Freeform 263">
            <a:extLst>
              <a:ext uri="{FF2B5EF4-FFF2-40B4-BE49-F238E27FC236}">
                <a16:creationId xmlns:a16="http://schemas.microsoft.com/office/drawing/2014/main" id="{5A642A61-C8FF-479E-AAC6-76F2FFBA1355}"/>
              </a:ext>
            </a:extLst>
          </p:cNvPr>
          <p:cNvSpPr>
            <a:spLocks noChangeAspect="1"/>
          </p:cNvSpPr>
          <p:nvPr/>
        </p:nvSpPr>
        <p:spPr bwMode="gray">
          <a:xfrm>
            <a:off x="2618465" y="4328037"/>
            <a:ext cx="145133" cy="55210"/>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2" name="Freeform 264">
            <a:extLst>
              <a:ext uri="{FF2B5EF4-FFF2-40B4-BE49-F238E27FC236}">
                <a16:creationId xmlns:a16="http://schemas.microsoft.com/office/drawing/2014/main" id="{39DD2667-7AE6-49A2-BBEB-9B2FABB677F0}"/>
              </a:ext>
            </a:extLst>
          </p:cNvPr>
          <p:cNvSpPr>
            <a:spLocks noChangeAspect="1"/>
          </p:cNvSpPr>
          <p:nvPr/>
        </p:nvSpPr>
        <p:spPr bwMode="gray">
          <a:xfrm>
            <a:off x="2389425" y="4139918"/>
            <a:ext cx="97512" cy="96105"/>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3" name="Freeform 265">
            <a:extLst>
              <a:ext uri="{FF2B5EF4-FFF2-40B4-BE49-F238E27FC236}">
                <a16:creationId xmlns:a16="http://schemas.microsoft.com/office/drawing/2014/main" id="{48E9AAF2-AFEA-4579-8219-14C7B8BC8946}"/>
              </a:ext>
            </a:extLst>
          </p:cNvPr>
          <p:cNvSpPr>
            <a:spLocks noChangeAspect="1"/>
          </p:cNvSpPr>
          <p:nvPr/>
        </p:nvSpPr>
        <p:spPr bwMode="gray">
          <a:xfrm>
            <a:off x="2464260" y="4125603"/>
            <a:ext cx="27212" cy="59300"/>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4" name="Freeform 266">
            <a:extLst>
              <a:ext uri="{FF2B5EF4-FFF2-40B4-BE49-F238E27FC236}">
                <a16:creationId xmlns:a16="http://schemas.microsoft.com/office/drawing/2014/main" id="{CF08B722-F707-4C63-8674-0A289C114891}"/>
              </a:ext>
            </a:extLst>
          </p:cNvPr>
          <p:cNvSpPr>
            <a:spLocks noChangeAspect="1"/>
          </p:cNvSpPr>
          <p:nvPr/>
        </p:nvSpPr>
        <p:spPr bwMode="gray">
          <a:xfrm>
            <a:off x="2443851" y="4219664"/>
            <a:ext cx="56693" cy="28627"/>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5" name="Freeform 267">
            <a:extLst>
              <a:ext uri="{FF2B5EF4-FFF2-40B4-BE49-F238E27FC236}">
                <a16:creationId xmlns:a16="http://schemas.microsoft.com/office/drawing/2014/main" id="{03E8947D-367A-4B56-9F06-74889F8AAE4F}"/>
              </a:ext>
            </a:extLst>
          </p:cNvPr>
          <p:cNvSpPr>
            <a:spLocks noChangeAspect="1"/>
          </p:cNvSpPr>
          <p:nvPr/>
        </p:nvSpPr>
        <p:spPr bwMode="gray">
          <a:xfrm>
            <a:off x="2548165" y="4293276"/>
            <a:ext cx="81637" cy="6543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6" name="Freeform 268">
            <a:extLst>
              <a:ext uri="{FF2B5EF4-FFF2-40B4-BE49-F238E27FC236}">
                <a16:creationId xmlns:a16="http://schemas.microsoft.com/office/drawing/2014/main" id="{D355075D-8E2C-4FC4-8BFA-334E5144BEBB}"/>
              </a:ext>
            </a:extLst>
          </p:cNvPr>
          <p:cNvSpPr>
            <a:spLocks noChangeAspect="1"/>
          </p:cNvSpPr>
          <p:nvPr/>
        </p:nvSpPr>
        <p:spPr bwMode="gray">
          <a:xfrm>
            <a:off x="2459724" y="4182859"/>
            <a:ext cx="151938" cy="69523"/>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7" name="Freeform 269">
            <a:extLst>
              <a:ext uri="{FF2B5EF4-FFF2-40B4-BE49-F238E27FC236}">
                <a16:creationId xmlns:a16="http://schemas.microsoft.com/office/drawing/2014/main" id="{EE47BB20-6107-412B-83B9-F288452DCE54}"/>
              </a:ext>
            </a:extLst>
          </p:cNvPr>
          <p:cNvSpPr>
            <a:spLocks noChangeAspect="1"/>
          </p:cNvSpPr>
          <p:nvPr/>
        </p:nvSpPr>
        <p:spPr bwMode="gray">
          <a:xfrm>
            <a:off x="1772608" y="3773901"/>
            <a:ext cx="750612" cy="441673"/>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6" name="Group 5">
            <a:extLst>
              <a:ext uri="{FF2B5EF4-FFF2-40B4-BE49-F238E27FC236}">
                <a16:creationId xmlns:a16="http://schemas.microsoft.com/office/drawing/2014/main" id="{8C016258-4058-D27B-4FE0-AE4F63800011}"/>
              </a:ext>
            </a:extLst>
          </p:cNvPr>
          <p:cNvGrpSpPr/>
          <p:nvPr/>
        </p:nvGrpSpPr>
        <p:grpSpPr>
          <a:xfrm>
            <a:off x="502692" y="2232135"/>
            <a:ext cx="2521692" cy="1733976"/>
            <a:chOff x="502692" y="2232135"/>
            <a:chExt cx="2521692" cy="1733976"/>
          </a:xfrm>
          <a:solidFill>
            <a:srgbClr val="D9D9D9"/>
          </a:solidFill>
        </p:grpSpPr>
        <p:grpSp>
          <p:nvGrpSpPr>
            <p:cNvPr id="253" name="Group 271">
              <a:extLst>
                <a:ext uri="{FF2B5EF4-FFF2-40B4-BE49-F238E27FC236}">
                  <a16:creationId xmlns:a16="http://schemas.microsoft.com/office/drawing/2014/main" id="{7DB6C456-2024-4140-8CAC-94D143950C71}"/>
                </a:ext>
              </a:extLst>
            </p:cNvPr>
            <p:cNvGrpSpPr>
              <a:grpSpLocks noChangeAspect="1"/>
            </p:cNvGrpSpPr>
            <p:nvPr/>
          </p:nvGrpSpPr>
          <p:grpSpPr bwMode="gray">
            <a:xfrm>
              <a:off x="502692" y="2232135"/>
              <a:ext cx="947902" cy="844495"/>
              <a:chOff x="672" y="1356"/>
              <a:chExt cx="418" cy="413"/>
            </a:xfrm>
            <a:grpFill/>
          </p:grpSpPr>
          <p:sp>
            <p:nvSpPr>
              <p:cNvPr id="260" name="Freeform 272">
                <a:extLst>
                  <a:ext uri="{FF2B5EF4-FFF2-40B4-BE49-F238E27FC236}">
                    <a16:creationId xmlns:a16="http://schemas.microsoft.com/office/drawing/2014/main" id="{D21D3DAF-2BF4-400C-9750-796C587B86CA}"/>
                  </a:ext>
                </a:extLst>
              </p:cNvPr>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1" name="Freeform 273">
                <a:extLst>
                  <a:ext uri="{FF2B5EF4-FFF2-40B4-BE49-F238E27FC236}">
                    <a16:creationId xmlns:a16="http://schemas.microsoft.com/office/drawing/2014/main" id="{EA4E1257-6D3B-4019-B892-5DCDB0A2795E}"/>
                  </a:ext>
                </a:extLst>
              </p:cNvPr>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2" name="Freeform 274">
                <a:extLst>
                  <a:ext uri="{FF2B5EF4-FFF2-40B4-BE49-F238E27FC236}">
                    <a16:creationId xmlns:a16="http://schemas.microsoft.com/office/drawing/2014/main" id="{06AC208D-9121-4550-BD3A-39C86E187F53}"/>
                  </a:ext>
                </a:extLst>
              </p:cNvPr>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3" name="Freeform 275">
                <a:extLst>
                  <a:ext uri="{FF2B5EF4-FFF2-40B4-BE49-F238E27FC236}">
                    <a16:creationId xmlns:a16="http://schemas.microsoft.com/office/drawing/2014/main" id="{6D63DE42-0BC7-4CF5-97AF-24B1E7539525}"/>
                  </a:ext>
                </a:extLst>
              </p:cNvPr>
              <p:cNvSpPr>
                <a:spLocks noChangeAspect="1"/>
              </p:cNvSpPr>
              <p:nvPr/>
            </p:nvSpPr>
            <p:spPr bwMode="gray">
              <a:xfrm>
                <a:off x="672" y="1356"/>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4" name="Freeform 276">
                <a:extLst>
                  <a:ext uri="{FF2B5EF4-FFF2-40B4-BE49-F238E27FC236}">
                    <a16:creationId xmlns:a16="http://schemas.microsoft.com/office/drawing/2014/main" id="{4C6C3C7E-6548-4AF8-A936-E1DB395266BB}"/>
                  </a:ext>
                </a:extLst>
              </p:cNvPr>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54" name="Group 277">
              <a:extLst>
                <a:ext uri="{FF2B5EF4-FFF2-40B4-BE49-F238E27FC236}">
                  <a16:creationId xmlns:a16="http://schemas.microsoft.com/office/drawing/2014/main" id="{D243C896-BBAC-46E3-8995-D55D1CF784D1}"/>
                </a:ext>
              </a:extLst>
            </p:cNvPr>
            <p:cNvGrpSpPr>
              <a:grpSpLocks noChangeAspect="1"/>
            </p:cNvGrpSpPr>
            <p:nvPr/>
          </p:nvGrpSpPr>
          <p:grpSpPr bwMode="gray">
            <a:xfrm>
              <a:off x="1584390" y="3272930"/>
              <a:ext cx="1439994" cy="693181"/>
              <a:chOff x="1149" y="1865"/>
              <a:chExt cx="635" cy="339"/>
            </a:xfrm>
            <a:grpFill/>
          </p:grpSpPr>
          <p:sp>
            <p:nvSpPr>
              <p:cNvPr id="255" name="Freeform 278">
                <a:extLst>
                  <a:ext uri="{FF2B5EF4-FFF2-40B4-BE49-F238E27FC236}">
                    <a16:creationId xmlns:a16="http://schemas.microsoft.com/office/drawing/2014/main" id="{E4874FA6-498E-4E39-B49D-ABFC8E7C1517}"/>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6" name="Freeform 279">
                <a:extLst>
                  <a:ext uri="{FF2B5EF4-FFF2-40B4-BE49-F238E27FC236}">
                    <a16:creationId xmlns:a16="http://schemas.microsoft.com/office/drawing/2014/main" id="{9B6C1B65-7514-44DA-9B76-59F29A1E5F7A}"/>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7" name="Freeform 280">
                <a:extLst>
                  <a:ext uri="{FF2B5EF4-FFF2-40B4-BE49-F238E27FC236}">
                    <a16:creationId xmlns:a16="http://schemas.microsoft.com/office/drawing/2014/main" id="{FEF2CA6F-2DCA-4E0D-A819-55EAD003BDE0}"/>
                  </a:ext>
                </a:extLst>
              </p:cNvPr>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8" name="Freeform 281">
                <a:extLst>
                  <a:ext uri="{FF2B5EF4-FFF2-40B4-BE49-F238E27FC236}">
                    <a16:creationId xmlns:a16="http://schemas.microsoft.com/office/drawing/2014/main" id="{849DECEB-9B14-4E41-B6AA-FE596839507E}"/>
                  </a:ext>
                </a:extLst>
              </p:cNvPr>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9" name="Freeform 282">
                <a:extLst>
                  <a:ext uri="{FF2B5EF4-FFF2-40B4-BE49-F238E27FC236}">
                    <a16:creationId xmlns:a16="http://schemas.microsoft.com/office/drawing/2014/main" id="{68EC9DBB-523F-4569-9968-0A91D1910198}"/>
                  </a:ext>
                </a:extLst>
              </p:cNvPr>
              <p:cNvSpPr>
                <a:spLocks noChangeAspect="1"/>
              </p:cNvSpPr>
              <p:nvPr/>
            </p:nvSpPr>
            <p:spPr bwMode="gray">
              <a:xfrm>
                <a:off x="1149" y="1865"/>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grpSp>
        <p:nvGrpSpPr>
          <p:cNvPr id="79" name="Group 283">
            <a:extLst>
              <a:ext uri="{FF2B5EF4-FFF2-40B4-BE49-F238E27FC236}">
                <a16:creationId xmlns:a16="http://schemas.microsoft.com/office/drawing/2014/main" id="{B34D3594-26B6-4B58-9CE2-7F6D4ADF8DAE}"/>
              </a:ext>
            </a:extLst>
          </p:cNvPr>
          <p:cNvGrpSpPr>
            <a:grpSpLocks noChangeAspect="1"/>
          </p:cNvGrpSpPr>
          <p:nvPr/>
        </p:nvGrpSpPr>
        <p:grpSpPr bwMode="gray">
          <a:xfrm>
            <a:off x="1176202" y="1422401"/>
            <a:ext cx="2197410" cy="2089768"/>
            <a:chOff x="969" y="960"/>
            <a:chExt cx="969" cy="1022"/>
          </a:xfrm>
          <a:solidFill>
            <a:srgbClr val="D8D8D8"/>
          </a:solidFill>
        </p:grpSpPr>
        <p:sp>
          <p:nvSpPr>
            <p:cNvPr id="224" name="Freeform 284">
              <a:extLst>
                <a:ext uri="{FF2B5EF4-FFF2-40B4-BE49-F238E27FC236}">
                  <a16:creationId xmlns:a16="http://schemas.microsoft.com/office/drawing/2014/main" id="{712D049D-BBA3-40FD-90BF-BE8B353AAFAE}"/>
                </a:ext>
              </a:extLst>
            </p:cNvPr>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5" name="Freeform 285">
              <a:extLst>
                <a:ext uri="{FF2B5EF4-FFF2-40B4-BE49-F238E27FC236}">
                  <a16:creationId xmlns:a16="http://schemas.microsoft.com/office/drawing/2014/main" id="{CD7AB417-137C-4F53-9A5D-7E421D8DE01D}"/>
                </a:ext>
              </a:extLst>
            </p:cNvPr>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6" name="Freeform 286">
              <a:extLst>
                <a:ext uri="{FF2B5EF4-FFF2-40B4-BE49-F238E27FC236}">
                  <a16:creationId xmlns:a16="http://schemas.microsoft.com/office/drawing/2014/main" id="{6D8364F6-27D2-4BDE-B0C7-697701A2B8D0}"/>
                </a:ext>
              </a:extLst>
            </p:cNvPr>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7" name="Freeform 287">
              <a:extLst>
                <a:ext uri="{FF2B5EF4-FFF2-40B4-BE49-F238E27FC236}">
                  <a16:creationId xmlns:a16="http://schemas.microsoft.com/office/drawing/2014/main" id="{D543D23E-FF37-4FB7-AD0C-17B78BB81946}"/>
                </a:ext>
              </a:extLst>
            </p:cNvPr>
            <p:cNvSpPr>
              <a:spLocks noChangeAspect="1"/>
            </p:cNvSpPr>
            <p:nvPr/>
          </p:nvSpPr>
          <p:spPr bwMode="gray">
            <a:xfrm>
              <a:off x="1425" y="1404"/>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8" name="Freeform 288">
              <a:extLst>
                <a:ext uri="{FF2B5EF4-FFF2-40B4-BE49-F238E27FC236}">
                  <a16:creationId xmlns:a16="http://schemas.microsoft.com/office/drawing/2014/main" id="{5C62833C-EA15-459C-AA03-260F286339B2}"/>
                </a:ext>
              </a:extLst>
            </p:cNvPr>
            <p:cNvSpPr>
              <a:spLocks noChangeAspect="1"/>
            </p:cNvSpPr>
            <p:nvPr/>
          </p:nvSpPr>
          <p:spPr bwMode="gray">
            <a:xfrm>
              <a:off x="1134" y="1234"/>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9" name="Freeform 289">
              <a:extLst>
                <a:ext uri="{FF2B5EF4-FFF2-40B4-BE49-F238E27FC236}">
                  <a16:creationId xmlns:a16="http://schemas.microsoft.com/office/drawing/2014/main" id="{FD01FFE9-6542-43C1-A20E-2E0F1B502FDB}"/>
                </a:ext>
              </a:extLst>
            </p:cNvPr>
            <p:cNvSpPr>
              <a:spLocks noChangeAspect="1"/>
            </p:cNvSpPr>
            <p:nvPr/>
          </p:nvSpPr>
          <p:spPr bwMode="gray">
            <a:xfrm>
              <a:off x="1210" y="1283"/>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0" name="Freeform 290">
              <a:extLst>
                <a:ext uri="{FF2B5EF4-FFF2-40B4-BE49-F238E27FC236}">
                  <a16:creationId xmlns:a16="http://schemas.microsoft.com/office/drawing/2014/main" id="{23BA5801-866E-4460-A016-DF034C757194}"/>
                </a:ext>
              </a:extLst>
            </p:cNvPr>
            <p:cNvSpPr>
              <a:spLocks noChangeAspect="1"/>
            </p:cNvSpPr>
            <p:nvPr/>
          </p:nvSpPr>
          <p:spPr bwMode="gray">
            <a:xfrm>
              <a:off x="1342" y="1267"/>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1" name="Freeform 291">
              <a:extLst>
                <a:ext uri="{FF2B5EF4-FFF2-40B4-BE49-F238E27FC236}">
                  <a16:creationId xmlns:a16="http://schemas.microsoft.com/office/drawing/2014/main" id="{A9E7B505-F03F-4F56-A7CE-4B3256C1F751}"/>
                </a:ext>
              </a:extLst>
            </p:cNvPr>
            <p:cNvSpPr>
              <a:spLocks noChangeAspect="1"/>
            </p:cNvSpPr>
            <p:nvPr/>
          </p:nvSpPr>
          <p:spPr bwMode="gray">
            <a:xfrm>
              <a:off x="1392" y="1262"/>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2" name="Freeform 292">
              <a:extLst>
                <a:ext uri="{FF2B5EF4-FFF2-40B4-BE49-F238E27FC236}">
                  <a16:creationId xmlns:a16="http://schemas.microsoft.com/office/drawing/2014/main" id="{DF277C4B-564F-4C83-9348-08431FBDC504}"/>
                </a:ext>
              </a:extLst>
            </p:cNvPr>
            <p:cNvSpPr>
              <a:spLocks noChangeAspect="1"/>
            </p:cNvSpPr>
            <p:nvPr/>
          </p:nvSpPr>
          <p:spPr bwMode="gray">
            <a:xfrm>
              <a:off x="1388" y="1141"/>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3" name="Freeform 293">
              <a:extLst>
                <a:ext uri="{FF2B5EF4-FFF2-40B4-BE49-F238E27FC236}">
                  <a16:creationId xmlns:a16="http://schemas.microsoft.com/office/drawing/2014/main" id="{FC96D19E-E914-4295-8756-A7E075335019}"/>
                </a:ext>
              </a:extLst>
            </p:cNvPr>
            <p:cNvSpPr>
              <a:spLocks noChangeAspect="1"/>
            </p:cNvSpPr>
            <p:nvPr/>
          </p:nvSpPr>
          <p:spPr bwMode="gray">
            <a:xfrm>
              <a:off x="1225" y="1133"/>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4" name="Freeform 294">
              <a:extLst>
                <a:ext uri="{FF2B5EF4-FFF2-40B4-BE49-F238E27FC236}">
                  <a16:creationId xmlns:a16="http://schemas.microsoft.com/office/drawing/2014/main" id="{77D4792C-EFB8-47D8-9878-50948C8506AF}"/>
                </a:ext>
              </a:extLst>
            </p:cNvPr>
            <p:cNvSpPr>
              <a:spLocks noChangeAspect="1"/>
            </p:cNvSpPr>
            <p:nvPr/>
          </p:nvSpPr>
          <p:spPr bwMode="gray">
            <a:xfrm>
              <a:off x="1168" y="1099"/>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5" name="Freeform 295">
              <a:extLst>
                <a:ext uri="{FF2B5EF4-FFF2-40B4-BE49-F238E27FC236}">
                  <a16:creationId xmlns:a16="http://schemas.microsoft.com/office/drawing/2014/main" id="{F6F640F9-257E-4CCD-84F8-F6DB0D4845FD}"/>
                </a:ext>
              </a:extLst>
            </p:cNvPr>
            <p:cNvSpPr>
              <a:spLocks noChangeAspect="1"/>
            </p:cNvSpPr>
            <p:nvPr/>
          </p:nvSpPr>
          <p:spPr bwMode="gray">
            <a:xfrm>
              <a:off x="1271" y="1070"/>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6" name="Freeform 296">
              <a:extLst>
                <a:ext uri="{FF2B5EF4-FFF2-40B4-BE49-F238E27FC236}">
                  <a16:creationId xmlns:a16="http://schemas.microsoft.com/office/drawing/2014/main" id="{208C6E85-6B92-4E06-BC3A-4464E0E02951}"/>
                </a:ext>
              </a:extLst>
            </p:cNvPr>
            <p:cNvSpPr>
              <a:spLocks noChangeAspect="1"/>
            </p:cNvSpPr>
            <p:nvPr/>
          </p:nvSpPr>
          <p:spPr bwMode="gray">
            <a:xfrm>
              <a:off x="1271" y="1035"/>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7" name="Freeform 297">
              <a:extLst>
                <a:ext uri="{FF2B5EF4-FFF2-40B4-BE49-F238E27FC236}">
                  <a16:creationId xmlns:a16="http://schemas.microsoft.com/office/drawing/2014/main" id="{049DC7C9-1A50-4EF7-A520-38FF1C83892E}"/>
                </a:ext>
              </a:extLst>
            </p:cNvPr>
            <p:cNvSpPr>
              <a:spLocks noChangeAspect="1"/>
            </p:cNvSpPr>
            <p:nvPr/>
          </p:nvSpPr>
          <p:spPr bwMode="gray">
            <a:xfrm>
              <a:off x="1461" y="1086"/>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8" name="Freeform 298">
              <a:extLst>
                <a:ext uri="{FF2B5EF4-FFF2-40B4-BE49-F238E27FC236}">
                  <a16:creationId xmlns:a16="http://schemas.microsoft.com/office/drawing/2014/main" id="{53AFFE5D-6816-417C-B330-F11A067AE1B7}"/>
                </a:ext>
              </a:extLst>
            </p:cNvPr>
            <p:cNvSpPr>
              <a:spLocks noChangeAspect="1"/>
            </p:cNvSpPr>
            <p:nvPr/>
          </p:nvSpPr>
          <p:spPr bwMode="gray">
            <a:xfrm>
              <a:off x="1452" y="1121"/>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9" name="Freeform 299">
              <a:extLst>
                <a:ext uri="{FF2B5EF4-FFF2-40B4-BE49-F238E27FC236}">
                  <a16:creationId xmlns:a16="http://schemas.microsoft.com/office/drawing/2014/main" id="{EC7345A4-9EB4-4D12-98C0-1D2A940C4070}"/>
                </a:ext>
              </a:extLst>
            </p:cNvPr>
            <p:cNvSpPr>
              <a:spLocks noChangeAspect="1"/>
            </p:cNvSpPr>
            <p:nvPr/>
          </p:nvSpPr>
          <p:spPr bwMode="gray">
            <a:xfrm>
              <a:off x="1457" y="1187"/>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0" name="Freeform 300">
              <a:extLst>
                <a:ext uri="{FF2B5EF4-FFF2-40B4-BE49-F238E27FC236}">
                  <a16:creationId xmlns:a16="http://schemas.microsoft.com/office/drawing/2014/main" id="{5B787495-6DC2-400B-84B9-B1BA52F7A752}"/>
                </a:ext>
              </a:extLst>
            </p:cNvPr>
            <p:cNvSpPr>
              <a:spLocks noChangeAspect="1"/>
            </p:cNvSpPr>
            <p:nvPr/>
          </p:nvSpPr>
          <p:spPr bwMode="gray">
            <a:xfrm>
              <a:off x="1559" y="1520"/>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1" name="Freeform 301">
              <a:extLst>
                <a:ext uri="{FF2B5EF4-FFF2-40B4-BE49-F238E27FC236}">
                  <a16:creationId xmlns:a16="http://schemas.microsoft.com/office/drawing/2014/main" id="{02DA7E87-EAC2-4B37-ABB9-696524E1ABA5}"/>
                </a:ext>
              </a:extLst>
            </p:cNvPr>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2" name="Freeform 302">
              <a:extLst>
                <a:ext uri="{FF2B5EF4-FFF2-40B4-BE49-F238E27FC236}">
                  <a16:creationId xmlns:a16="http://schemas.microsoft.com/office/drawing/2014/main" id="{5371BEE0-0BD7-44D4-BFDB-FB323E3307B7}"/>
                </a:ext>
              </a:extLst>
            </p:cNvPr>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3" name="Freeform 303">
              <a:extLst>
                <a:ext uri="{FF2B5EF4-FFF2-40B4-BE49-F238E27FC236}">
                  <a16:creationId xmlns:a16="http://schemas.microsoft.com/office/drawing/2014/main" id="{C22B9321-59C8-46F1-83A0-A43A1582E074}"/>
                </a:ext>
              </a:extLst>
            </p:cNvPr>
            <p:cNvSpPr>
              <a:spLocks noChangeAspect="1"/>
            </p:cNvSpPr>
            <p:nvPr/>
          </p:nvSpPr>
          <p:spPr bwMode="gray">
            <a:xfrm>
              <a:off x="1527" y="1265"/>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4" name="Freeform 304">
              <a:extLst>
                <a:ext uri="{FF2B5EF4-FFF2-40B4-BE49-F238E27FC236}">
                  <a16:creationId xmlns:a16="http://schemas.microsoft.com/office/drawing/2014/main" id="{CC6A87D1-2A6D-4328-A9F3-0AD6BDE2594D}"/>
                </a:ext>
              </a:extLst>
            </p:cNvPr>
            <p:cNvSpPr>
              <a:spLocks noChangeAspect="1"/>
            </p:cNvSpPr>
            <p:nvPr/>
          </p:nvSpPr>
          <p:spPr bwMode="gray">
            <a:xfrm>
              <a:off x="969" y="1334"/>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5" name="Freeform 305">
              <a:extLst>
                <a:ext uri="{FF2B5EF4-FFF2-40B4-BE49-F238E27FC236}">
                  <a16:creationId xmlns:a16="http://schemas.microsoft.com/office/drawing/2014/main" id="{503FA97B-3CA1-441B-A130-1220B06A80E7}"/>
                </a:ext>
              </a:extLst>
            </p:cNvPr>
            <p:cNvSpPr>
              <a:spLocks noChangeAspect="1"/>
            </p:cNvSpPr>
            <p:nvPr/>
          </p:nvSpPr>
          <p:spPr bwMode="gray">
            <a:xfrm>
              <a:off x="1437" y="1025"/>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6" name="Freeform 306">
              <a:extLst>
                <a:ext uri="{FF2B5EF4-FFF2-40B4-BE49-F238E27FC236}">
                  <a16:creationId xmlns:a16="http://schemas.microsoft.com/office/drawing/2014/main" id="{3F483D7B-1090-4AE4-846B-22B918F861E6}"/>
                </a:ext>
              </a:extLst>
            </p:cNvPr>
            <p:cNvSpPr>
              <a:spLocks noChangeAspect="1"/>
            </p:cNvSpPr>
            <p:nvPr/>
          </p:nvSpPr>
          <p:spPr bwMode="gray">
            <a:xfrm>
              <a:off x="1356" y="1000"/>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7" name="Freeform 307">
              <a:extLst>
                <a:ext uri="{FF2B5EF4-FFF2-40B4-BE49-F238E27FC236}">
                  <a16:creationId xmlns:a16="http://schemas.microsoft.com/office/drawing/2014/main" id="{413D68F5-6965-4744-8EF5-BAD2AAF43E1E}"/>
                </a:ext>
              </a:extLst>
            </p:cNvPr>
            <p:cNvSpPr>
              <a:spLocks noChangeAspect="1"/>
            </p:cNvSpPr>
            <p:nvPr/>
          </p:nvSpPr>
          <p:spPr bwMode="gray">
            <a:xfrm>
              <a:off x="1462" y="960"/>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8" name="Freeform 308">
              <a:extLst>
                <a:ext uri="{FF2B5EF4-FFF2-40B4-BE49-F238E27FC236}">
                  <a16:creationId xmlns:a16="http://schemas.microsoft.com/office/drawing/2014/main" id="{F58AF86A-0AD0-4293-803F-8FCD82E4B27E}"/>
                </a:ext>
              </a:extLst>
            </p:cNvPr>
            <p:cNvSpPr>
              <a:spLocks noChangeAspect="1"/>
            </p:cNvSpPr>
            <p:nvPr/>
          </p:nvSpPr>
          <p:spPr bwMode="gray">
            <a:xfrm>
              <a:off x="1532" y="960"/>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9" name="Freeform 309">
              <a:extLst>
                <a:ext uri="{FF2B5EF4-FFF2-40B4-BE49-F238E27FC236}">
                  <a16:creationId xmlns:a16="http://schemas.microsoft.com/office/drawing/2014/main" id="{D2D54449-F584-4E39-92A2-014013364992}"/>
                </a:ext>
              </a:extLst>
            </p:cNvPr>
            <p:cNvSpPr>
              <a:spLocks noChangeAspect="1"/>
            </p:cNvSpPr>
            <p:nvPr/>
          </p:nvSpPr>
          <p:spPr bwMode="gray">
            <a:xfrm>
              <a:off x="1564" y="1153"/>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0" name="Freeform 310">
              <a:extLst>
                <a:ext uri="{FF2B5EF4-FFF2-40B4-BE49-F238E27FC236}">
                  <a16:creationId xmlns:a16="http://schemas.microsoft.com/office/drawing/2014/main" id="{3B648D1A-9E28-4A68-9166-3086F1A0D276}"/>
                </a:ext>
              </a:extLst>
            </p:cNvPr>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1" name="Freeform 311">
              <a:extLst>
                <a:ext uri="{FF2B5EF4-FFF2-40B4-BE49-F238E27FC236}">
                  <a16:creationId xmlns:a16="http://schemas.microsoft.com/office/drawing/2014/main" id="{73BEB112-76A7-4F8C-918B-51E15C8ECD1A}"/>
                </a:ext>
              </a:extLst>
            </p:cNvPr>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2" name="Freeform 312">
              <a:extLst>
                <a:ext uri="{FF2B5EF4-FFF2-40B4-BE49-F238E27FC236}">
                  <a16:creationId xmlns:a16="http://schemas.microsoft.com/office/drawing/2014/main" id="{839E2FEC-E56B-43CD-8B6C-DFADD43D0C0A}"/>
                </a:ext>
              </a:extLst>
            </p:cNvPr>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97" name="Freeform 330">
            <a:extLst>
              <a:ext uri="{FF2B5EF4-FFF2-40B4-BE49-F238E27FC236}">
                <a16:creationId xmlns:a16="http://schemas.microsoft.com/office/drawing/2014/main" id="{8CAF3E27-1C6A-4A51-A2D6-8B14A2B40AB3}"/>
              </a:ext>
            </a:extLst>
          </p:cNvPr>
          <p:cNvSpPr>
            <a:spLocks noChangeAspect="1"/>
          </p:cNvSpPr>
          <p:nvPr/>
        </p:nvSpPr>
        <p:spPr bwMode="gray">
          <a:xfrm rot="20552049">
            <a:off x="2765864" y="4135828"/>
            <a:ext cx="34016" cy="22493"/>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8" name="Freeform 331">
            <a:extLst>
              <a:ext uri="{FF2B5EF4-FFF2-40B4-BE49-F238E27FC236}">
                <a16:creationId xmlns:a16="http://schemas.microsoft.com/office/drawing/2014/main" id="{2C7C5A42-1CFC-40FF-9A68-6703C1E77869}"/>
              </a:ext>
            </a:extLst>
          </p:cNvPr>
          <p:cNvSpPr>
            <a:spLocks noChangeAspect="1"/>
          </p:cNvSpPr>
          <p:nvPr/>
        </p:nvSpPr>
        <p:spPr bwMode="gray">
          <a:xfrm rot="20552049">
            <a:off x="2858842" y="4062215"/>
            <a:ext cx="54425" cy="67478"/>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23" name="Group 22">
            <a:extLst>
              <a:ext uri="{FF2B5EF4-FFF2-40B4-BE49-F238E27FC236}">
                <a16:creationId xmlns:a16="http://schemas.microsoft.com/office/drawing/2014/main" id="{339F5F3F-572C-E35E-D9EA-0F757AA23993}"/>
              </a:ext>
            </a:extLst>
          </p:cNvPr>
          <p:cNvGrpSpPr/>
          <p:nvPr/>
        </p:nvGrpSpPr>
        <p:grpSpPr>
          <a:xfrm>
            <a:off x="2661550" y="4264649"/>
            <a:ext cx="1154264" cy="1758513"/>
            <a:chOff x="2661550" y="4264649"/>
            <a:chExt cx="1154264" cy="1758513"/>
          </a:xfrm>
        </p:grpSpPr>
        <p:grpSp>
          <p:nvGrpSpPr>
            <p:cNvPr id="69" name="Group 236">
              <a:extLst>
                <a:ext uri="{FF2B5EF4-FFF2-40B4-BE49-F238E27FC236}">
                  <a16:creationId xmlns:a16="http://schemas.microsoft.com/office/drawing/2014/main" id="{86273701-09B1-4B73-868C-BA39416B3E65}"/>
                </a:ext>
              </a:extLst>
            </p:cNvPr>
            <p:cNvGrpSpPr>
              <a:grpSpLocks noChangeAspect="1"/>
            </p:cNvGrpSpPr>
            <p:nvPr/>
          </p:nvGrpSpPr>
          <p:grpSpPr bwMode="gray">
            <a:xfrm>
              <a:off x="2661550" y="4264649"/>
              <a:ext cx="1154264" cy="1758513"/>
              <a:chOff x="1624" y="2350"/>
              <a:chExt cx="509" cy="860"/>
            </a:xfrm>
            <a:solidFill>
              <a:srgbClr val="D8D8D8"/>
            </a:solidFill>
          </p:grpSpPr>
          <p:sp>
            <p:nvSpPr>
              <p:cNvPr id="265" name="Freeform 237">
                <a:extLst>
                  <a:ext uri="{FF2B5EF4-FFF2-40B4-BE49-F238E27FC236}">
                    <a16:creationId xmlns:a16="http://schemas.microsoft.com/office/drawing/2014/main" id="{BFCD9EB7-F7E5-4F0E-BEE4-83E0E4FCEA4A}"/>
                  </a:ext>
                </a:extLst>
              </p:cNvPr>
              <p:cNvSpPr>
                <a:spLocks noChangeAspect="1"/>
              </p:cNvSpPr>
              <p:nvPr/>
            </p:nvSpPr>
            <p:spPr bwMode="gray">
              <a:xfrm>
                <a:off x="1709" y="3154"/>
                <a:ext cx="23" cy="27"/>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6" name="Freeform 238">
                <a:extLst>
                  <a:ext uri="{FF2B5EF4-FFF2-40B4-BE49-F238E27FC236}">
                    <a16:creationId xmlns:a16="http://schemas.microsoft.com/office/drawing/2014/main" id="{5121EB6E-E03C-4349-B400-783DE31F7CA3}"/>
                  </a:ext>
                </a:extLst>
              </p:cNvPr>
              <p:cNvSpPr>
                <a:spLocks noChangeAspect="1"/>
              </p:cNvSpPr>
              <p:nvPr/>
            </p:nvSpPr>
            <p:spPr bwMode="gray">
              <a:xfrm>
                <a:off x="1712" y="2353"/>
                <a:ext cx="148" cy="126"/>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7" name="Freeform 239">
                <a:extLst>
                  <a:ext uri="{FF2B5EF4-FFF2-40B4-BE49-F238E27FC236}">
                    <a16:creationId xmlns:a16="http://schemas.microsoft.com/office/drawing/2014/main" id="{69E1D5CC-4A68-4F81-8E6B-D989911D4D84}"/>
                  </a:ext>
                </a:extLst>
              </p:cNvPr>
              <p:cNvSpPr>
                <a:spLocks noChangeAspect="1"/>
              </p:cNvSpPr>
              <p:nvPr/>
            </p:nvSpPr>
            <p:spPr bwMode="gray">
              <a:xfrm>
                <a:off x="1629" y="2473"/>
                <a:ext cx="62" cy="69"/>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8" name="Freeform 240">
                <a:extLst>
                  <a:ext uri="{FF2B5EF4-FFF2-40B4-BE49-F238E27FC236}">
                    <a16:creationId xmlns:a16="http://schemas.microsoft.com/office/drawing/2014/main" id="{2DB0E591-6A9A-4BB0-B1B2-FBCAF539C8CE}"/>
                  </a:ext>
                </a:extLst>
              </p:cNvPr>
              <p:cNvSpPr>
                <a:spLocks noChangeAspect="1"/>
              </p:cNvSpPr>
              <p:nvPr/>
            </p:nvSpPr>
            <p:spPr bwMode="gray">
              <a:xfrm>
                <a:off x="1828" y="2701"/>
                <a:ext cx="92" cy="98"/>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9" name="Freeform 241">
                <a:extLst>
                  <a:ext uri="{FF2B5EF4-FFF2-40B4-BE49-F238E27FC236}">
                    <a16:creationId xmlns:a16="http://schemas.microsoft.com/office/drawing/2014/main" id="{CC54023B-5B90-40DE-8247-10DEF797A16C}"/>
                  </a:ext>
                </a:extLst>
              </p:cNvPr>
              <p:cNvSpPr>
                <a:spLocks noChangeAspect="1"/>
              </p:cNvSpPr>
              <p:nvPr/>
            </p:nvSpPr>
            <p:spPr bwMode="gray">
              <a:xfrm>
                <a:off x="1687" y="2681"/>
                <a:ext cx="93" cy="506"/>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0" name="Freeform 242">
                <a:extLst>
                  <a:ext uri="{FF2B5EF4-FFF2-40B4-BE49-F238E27FC236}">
                    <a16:creationId xmlns:a16="http://schemas.microsoft.com/office/drawing/2014/main" id="{C4E2D895-7476-474D-BEA8-E92E3604FA0F}"/>
                  </a:ext>
                </a:extLst>
              </p:cNvPr>
              <p:cNvSpPr>
                <a:spLocks noChangeAspect="1"/>
              </p:cNvSpPr>
              <p:nvPr/>
            </p:nvSpPr>
            <p:spPr bwMode="gray">
              <a:xfrm>
                <a:off x="1733" y="3162"/>
                <a:ext cx="31" cy="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1" name="Freeform 243">
                <a:extLst>
                  <a:ext uri="{FF2B5EF4-FFF2-40B4-BE49-F238E27FC236}">
                    <a16:creationId xmlns:a16="http://schemas.microsoft.com/office/drawing/2014/main" id="{338DD430-B90F-4EED-909C-7FC5C3119C2D}"/>
                  </a:ext>
                </a:extLst>
              </p:cNvPr>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2" name="Freeform 244">
                <a:extLst>
                  <a:ext uri="{FF2B5EF4-FFF2-40B4-BE49-F238E27FC236}">
                    <a16:creationId xmlns:a16="http://schemas.microsoft.com/office/drawing/2014/main" id="{43F63FF9-9B70-474A-BB55-5C16A224776C}"/>
                  </a:ext>
                </a:extLst>
              </p:cNvPr>
              <p:cNvSpPr>
                <a:spLocks noChangeAspect="1"/>
              </p:cNvSpPr>
              <p:nvPr/>
            </p:nvSpPr>
            <p:spPr bwMode="gray">
              <a:xfrm>
                <a:off x="1971" y="2487"/>
                <a:ext cx="4" cy="2"/>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3" name="Freeform 245">
                <a:extLst>
                  <a:ext uri="{FF2B5EF4-FFF2-40B4-BE49-F238E27FC236}">
                    <a16:creationId xmlns:a16="http://schemas.microsoft.com/office/drawing/2014/main" id="{FCD91ED8-F03F-49BD-9643-786D17A847FC}"/>
                  </a:ext>
                </a:extLst>
              </p:cNvPr>
              <p:cNvSpPr>
                <a:spLocks noChangeAspect="1"/>
              </p:cNvSpPr>
              <p:nvPr/>
            </p:nvSpPr>
            <p:spPr bwMode="gray">
              <a:xfrm>
                <a:off x="1962" y="2489"/>
                <a:ext cx="23" cy="17"/>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4" name="Freeform 246">
                <a:extLst>
                  <a:ext uri="{FF2B5EF4-FFF2-40B4-BE49-F238E27FC236}">
                    <a16:creationId xmlns:a16="http://schemas.microsoft.com/office/drawing/2014/main" id="{E7F61C8A-8C49-4823-B830-BB2433553BEB}"/>
                  </a:ext>
                </a:extLst>
              </p:cNvPr>
              <p:cNvSpPr>
                <a:spLocks noChangeAspect="1"/>
              </p:cNvSpPr>
              <p:nvPr/>
            </p:nvSpPr>
            <p:spPr bwMode="gray">
              <a:xfrm>
                <a:off x="1955" y="2487"/>
                <a:ext cx="7" cy="8"/>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5" name="Freeform 247">
                <a:extLst>
                  <a:ext uri="{FF2B5EF4-FFF2-40B4-BE49-F238E27FC236}">
                    <a16:creationId xmlns:a16="http://schemas.microsoft.com/office/drawing/2014/main" id="{F28569A8-76F9-4B70-B9D4-AC5AFEC8F1CF}"/>
                  </a:ext>
                </a:extLst>
              </p:cNvPr>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6" name="Freeform 248">
                <a:extLst>
                  <a:ext uri="{FF2B5EF4-FFF2-40B4-BE49-F238E27FC236}">
                    <a16:creationId xmlns:a16="http://schemas.microsoft.com/office/drawing/2014/main" id="{329CFB46-BFA8-4C2F-A74B-BED100D0133D}"/>
                  </a:ext>
                </a:extLst>
              </p:cNvPr>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7" name="Freeform 249">
                <a:extLst>
                  <a:ext uri="{FF2B5EF4-FFF2-40B4-BE49-F238E27FC236}">
                    <a16:creationId xmlns:a16="http://schemas.microsoft.com/office/drawing/2014/main" id="{C1C6E0A4-BEF6-4046-AD99-16CEBBCC3259}"/>
                  </a:ext>
                </a:extLst>
              </p:cNvPr>
              <p:cNvSpPr>
                <a:spLocks noChangeAspect="1"/>
              </p:cNvSpPr>
              <p:nvPr/>
            </p:nvSpPr>
            <p:spPr bwMode="gray">
              <a:xfrm>
                <a:off x="1706" y="2430"/>
                <a:ext cx="427" cy="448"/>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8" name="Freeform 250">
                <a:extLst>
                  <a:ext uri="{FF2B5EF4-FFF2-40B4-BE49-F238E27FC236}">
                    <a16:creationId xmlns:a16="http://schemas.microsoft.com/office/drawing/2014/main" id="{79EAC19E-8299-4126-821C-2D3CC163425C}"/>
                  </a:ext>
                </a:extLst>
              </p:cNvPr>
              <p:cNvSpPr>
                <a:spLocks noChangeAspect="1"/>
              </p:cNvSpPr>
              <p:nvPr/>
            </p:nvSpPr>
            <p:spPr bwMode="gray">
              <a:xfrm>
                <a:off x="1650" y="2350"/>
                <a:ext cx="132" cy="182"/>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9" name="Freeform 251">
                <a:extLst>
                  <a:ext uri="{FF2B5EF4-FFF2-40B4-BE49-F238E27FC236}">
                    <a16:creationId xmlns:a16="http://schemas.microsoft.com/office/drawing/2014/main" id="{8B7EAB06-25A5-4176-BBCC-B59DF7EF813D}"/>
                  </a:ext>
                </a:extLst>
              </p:cNvPr>
              <p:cNvSpPr>
                <a:spLocks noChangeAspect="1"/>
              </p:cNvSpPr>
              <p:nvPr/>
            </p:nvSpPr>
            <p:spPr bwMode="gray">
              <a:xfrm>
                <a:off x="1751" y="2592"/>
                <a:ext cx="132" cy="15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0" name="Freeform 252">
                <a:extLst>
                  <a:ext uri="{FF2B5EF4-FFF2-40B4-BE49-F238E27FC236}">
                    <a16:creationId xmlns:a16="http://schemas.microsoft.com/office/drawing/2014/main" id="{4BEE57A7-B19D-462A-BA27-9C4F5CBE2B1D}"/>
                  </a:ext>
                </a:extLst>
              </p:cNvPr>
              <p:cNvSpPr>
                <a:spLocks noChangeAspect="1"/>
              </p:cNvSpPr>
              <p:nvPr/>
            </p:nvSpPr>
            <p:spPr bwMode="gray">
              <a:xfrm>
                <a:off x="1874" y="2831"/>
                <a:ext cx="59" cy="63"/>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1" name="Freeform 253">
                <a:extLst>
                  <a:ext uri="{FF2B5EF4-FFF2-40B4-BE49-F238E27FC236}">
                    <a16:creationId xmlns:a16="http://schemas.microsoft.com/office/drawing/2014/main" id="{18BD5226-A107-46F9-8F41-035815AB0EB9}"/>
                  </a:ext>
                </a:extLst>
              </p:cNvPr>
              <p:cNvSpPr>
                <a:spLocks noChangeAspect="1"/>
              </p:cNvSpPr>
              <p:nvPr/>
            </p:nvSpPr>
            <p:spPr bwMode="gray">
              <a:xfrm>
                <a:off x="1844" y="2396"/>
                <a:ext cx="53" cy="77"/>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2" name="Freeform 254">
                <a:extLst>
                  <a:ext uri="{FF2B5EF4-FFF2-40B4-BE49-F238E27FC236}">
                    <a16:creationId xmlns:a16="http://schemas.microsoft.com/office/drawing/2014/main" id="{6304463F-224C-4BF4-BFEC-41DF75739EAA}"/>
                  </a:ext>
                </a:extLst>
              </p:cNvPr>
              <p:cNvSpPr>
                <a:spLocks noChangeAspect="1"/>
              </p:cNvSpPr>
              <p:nvPr/>
            </p:nvSpPr>
            <p:spPr bwMode="gray">
              <a:xfrm>
                <a:off x="1919" y="2425"/>
                <a:ext cx="32" cy="4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3" name="Freeform 255">
                <a:extLst>
                  <a:ext uri="{FF2B5EF4-FFF2-40B4-BE49-F238E27FC236}">
                    <a16:creationId xmlns:a16="http://schemas.microsoft.com/office/drawing/2014/main" id="{8253CA00-F976-45A3-A324-56AB81206D06}"/>
                  </a:ext>
                </a:extLst>
              </p:cNvPr>
              <p:cNvSpPr>
                <a:spLocks noChangeAspect="1"/>
              </p:cNvSpPr>
              <p:nvPr/>
            </p:nvSpPr>
            <p:spPr bwMode="gray">
              <a:xfrm>
                <a:off x="1624" y="2488"/>
                <a:ext cx="137" cy="201"/>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4" name="Freeform 256">
                <a:extLst>
                  <a:ext uri="{FF2B5EF4-FFF2-40B4-BE49-F238E27FC236}">
                    <a16:creationId xmlns:a16="http://schemas.microsoft.com/office/drawing/2014/main" id="{9E8E8258-31A8-4C47-91E2-744E93741FA3}"/>
                  </a:ext>
                </a:extLst>
              </p:cNvPr>
              <p:cNvSpPr>
                <a:spLocks noChangeAspect="1"/>
              </p:cNvSpPr>
              <p:nvPr/>
            </p:nvSpPr>
            <p:spPr bwMode="gray">
              <a:xfrm>
                <a:off x="1711" y="2730"/>
                <a:ext cx="216" cy="429"/>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5" name="Freeform 257">
                <a:extLst>
                  <a:ext uri="{FF2B5EF4-FFF2-40B4-BE49-F238E27FC236}">
                    <a16:creationId xmlns:a16="http://schemas.microsoft.com/office/drawing/2014/main" id="{2AF5AA53-2E9B-44EA-A5E1-FA1F35656AA6}"/>
                  </a:ext>
                </a:extLst>
              </p:cNvPr>
              <p:cNvSpPr>
                <a:spLocks noChangeAspect="1"/>
              </p:cNvSpPr>
              <p:nvPr/>
            </p:nvSpPr>
            <p:spPr bwMode="gray">
              <a:xfrm>
                <a:off x="1763" y="3165"/>
                <a:ext cx="38" cy="4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6" name="Freeform 258">
                <a:extLst>
                  <a:ext uri="{FF2B5EF4-FFF2-40B4-BE49-F238E27FC236}">
                    <a16:creationId xmlns:a16="http://schemas.microsoft.com/office/drawing/2014/main" id="{39069667-AAB1-423F-B3C5-129A1292F077}"/>
                  </a:ext>
                </a:extLst>
              </p:cNvPr>
              <p:cNvSpPr>
                <a:spLocks noChangeAspect="1"/>
              </p:cNvSpPr>
              <p:nvPr/>
            </p:nvSpPr>
            <p:spPr bwMode="gray">
              <a:xfrm>
                <a:off x="1879" y="2422"/>
                <a:ext cx="45" cy="4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7" name="Freeform 259">
                <a:extLst>
                  <a:ext uri="{FF2B5EF4-FFF2-40B4-BE49-F238E27FC236}">
                    <a16:creationId xmlns:a16="http://schemas.microsoft.com/office/drawing/2014/main" id="{57559A49-825A-4422-956E-41201D8FCB75}"/>
                  </a:ext>
                </a:extLst>
              </p:cNvPr>
              <p:cNvSpPr>
                <a:spLocks noChangeAspect="1"/>
              </p:cNvSpPr>
              <p:nvPr/>
            </p:nvSpPr>
            <p:spPr bwMode="gray">
              <a:xfrm rot="-1047951">
                <a:off x="1790" y="2357"/>
                <a:ext cx="4" cy="4"/>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8" name="Freeform 260">
                <a:extLst>
                  <a:ext uri="{FF2B5EF4-FFF2-40B4-BE49-F238E27FC236}">
                    <a16:creationId xmlns:a16="http://schemas.microsoft.com/office/drawing/2014/main" id="{271551D9-F2F0-4E84-91E4-F318E2E4B341}"/>
                  </a:ext>
                </a:extLst>
              </p:cNvPr>
              <p:cNvSpPr>
                <a:spLocks noChangeAspect="1"/>
              </p:cNvSpPr>
              <p:nvPr/>
            </p:nvSpPr>
            <p:spPr bwMode="gray">
              <a:xfrm rot="-1047951">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9" name="Freeform 261">
                <a:extLst>
                  <a:ext uri="{FF2B5EF4-FFF2-40B4-BE49-F238E27FC236}">
                    <a16:creationId xmlns:a16="http://schemas.microsoft.com/office/drawing/2014/main" id="{E7044C14-92BC-482A-9A5B-CFECFB9967ED}"/>
                  </a:ext>
                </a:extLst>
              </p:cNvPr>
              <p:cNvSpPr>
                <a:spLocks noChangeAspect="1"/>
              </p:cNvSpPr>
              <p:nvPr/>
            </p:nvSpPr>
            <p:spPr bwMode="gray">
              <a:xfrm rot="-1047951">
                <a:off x="1758" y="2351"/>
                <a:ext cx="2" cy="4"/>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102" name="Freeform 335">
              <a:extLst>
                <a:ext uri="{FF2B5EF4-FFF2-40B4-BE49-F238E27FC236}">
                  <a16:creationId xmlns:a16="http://schemas.microsoft.com/office/drawing/2014/main" id="{31A0BEB0-BB21-4D68-B40D-12A6BD8B9C01}"/>
                </a:ext>
              </a:extLst>
            </p:cNvPr>
            <p:cNvSpPr>
              <a:spLocks noChangeAspect="1"/>
            </p:cNvSpPr>
            <p:nvPr/>
          </p:nvSpPr>
          <p:spPr bwMode="gray">
            <a:xfrm rot="20552049">
              <a:off x="3078809" y="4276918"/>
              <a:ext cx="13606" cy="20448"/>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04" name="Group 337">
            <a:extLst>
              <a:ext uri="{FF2B5EF4-FFF2-40B4-BE49-F238E27FC236}">
                <a16:creationId xmlns:a16="http://schemas.microsoft.com/office/drawing/2014/main" id="{8CEFA3B7-7E41-43A6-9CB6-82DAF641AC43}"/>
              </a:ext>
            </a:extLst>
          </p:cNvPr>
          <p:cNvGrpSpPr>
            <a:grpSpLocks noChangeAspect="1"/>
          </p:cNvGrpSpPr>
          <p:nvPr/>
        </p:nvGrpSpPr>
        <p:grpSpPr bwMode="gray">
          <a:xfrm>
            <a:off x="2820290" y="4074484"/>
            <a:ext cx="40819" cy="57254"/>
            <a:chOff x="1694" y="2257"/>
            <a:chExt cx="18" cy="28"/>
          </a:xfrm>
          <a:solidFill>
            <a:srgbClr val="D9D9D9"/>
          </a:solidFill>
        </p:grpSpPr>
        <p:sp>
          <p:nvSpPr>
            <p:cNvPr id="222" name="Freeform 338">
              <a:extLst>
                <a:ext uri="{FF2B5EF4-FFF2-40B4-BE49-F238E27FC236}">
                  <a16:creationId xmlns:a16="http://schemas.microsoft.com/office/drawing/2014/main" id="{68E59E1F-CF47-461A-88C6-A3EF71E74429}"/>
                </a:ext>
              </a:extLst>
            </p:cNvPr>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3" name="Freeform 339">
              <a:extLst>
                <a:ext uri="{FF2B5EF4-FFF2-40B4-BE49-F238E27FC236}">
                  <a16:creationId xmlns:a16="http://schemas.microsoft.com/office/drawing/2014/main" id="{D2C903FC-B32F-4323-BA26-24D53DF173F3}"/>
                </a:ext>
              </a:extLst>
            </p:cNvPr>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6" name="Group 25">
            <a:extLst>
              <a:ext uri="{FF2B5EF4-FFF2-40B4-BE49-F238E27FC236}">
                <a16:creationId xmlns:a16="http://schemas.microsoft.com/office/drawing/2014/main" id="{B76C2D05-5A13-90D2-58BA-12372F5CDA32}"/>
              </a:ext>
            </a:extLst>
          </p:cNvPr>
          <p:cNvGrpSpPr/>
          <p:nvPr/>
        </p:nvGrpSpPr>
        <p:grpSpPr>
          <a:xfrm>
            <a:off x="2634336" y="4013140"/>
            <a:ext cx="167811" cy="100195"/>
            <a:chOff x="2634336" y="4013140"/>
            <a:chExt cx="167811" cy="100195"/>
          </a:xfrm>
        </p:grpSpPr>
        <p:sp>
          <p:nvSpPr>
            <p:cNvPr id="112" name="Freeform 347">
              <a:extLst>
                <a:ext uri="{FF2B5EF4-FFF2-40B4-BE49-F238E27FC236}">
                  <a16:creationId xmlns:a16="http://schemas.microsoft.com/office/drawing/2014/main" id="{571116B0-965B-429F-81EE-90237DA75565}"/>
                </a:ext>
              </a:extLst>
            </p:cNvPr>
            <p:cNvSpPr>
              <a:spLocks noChangeAspect="1"/>
            </p:cNvSpPr>
            <p:nvPr/>
          </p:nvSpPr>
          <p:spPr bwMode="gray">
            <a:xfrm rot="20552049">
              <a:off x="2634336" y="4013140"/>
              <a:ext cx="167811" cy="100195"/>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3" name="Freeform 348">
              <a:extLst>
                <a:ext uri="{FF2B5EF4-FFF2-40B4-BE49-F238E27FC236}">
                  <a16:creationId xmlns:a16="http://schemas.microsoft.com/office/drawing/2014/main" id="{226EA18F-B837-4320-B122-B016602C40CD}"/>
                </a:ext>
              </a:extLst>
            </p:cNvPr>
            <p:cNvSpPr>
              <a:spLocks noChangeAspect="1"/>
            </p:cNvSpPr>
            <p:nvPr/>
          </p:nvSpPr>
          <p:spPr bwMode="gray">
            <a:xfrm rot="20552049">
              <a:off x="2661550" y="4066306"/>
              <a:ext cx="6804" cy="12269"/>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5" name="Group 24">
            <a:extLst>
              <a:ext uri="{FF2B5EF4-FFF2-40B4-BE49-F238E27FC236}">
                <a16:creationId xmlns:a16="http://schemas.microsoft.com/office/drawing/2014/main" id="{64A42A16-243C-A736-F033-1F413704F29D}"/>
              </a:ext>
            </a:extLst>
          </p:cNvPr>
          <p:cNvGrpSpPr/>
          <p:nvPr/>
        </p:nvGrpSpPr>
        <p:grpSpPr>
          <a:xfrm>
            <a:off x="2704639" y="3913366"/>
            <a:ext cx="154030" cy="161118"/>
            <a:chOff x="2704639" y="3913366"/>
            <a:chExt cx="154030" cy="161118"/>
          </a:xfrm>
        </p:grpSpPr>
        <p:sp>
          <p:nvSpPr>
            <p:cNvPr id="103" name="Freeform 336">
              <a:extLst>
                <a:ext uri="{FF2B5EF4-FFF2-40B4-BE49-F238E27FC236}">
                  <a16:creationId xmlns:a16="http://schemas.microsoft.com/office/drawing/2014/main" id="{E2CC8B50-2A42-4D91-BD17-85AF34EF69F6}"/>
                </a:ext>
              </a:extLst>
            </p:cNvPr>
            <p:cNvSpPr>
              <a:spLocks noChangeAspect="1"/>
            </p:cNvSpPr>
            <p:nvPr/>
          </p:nvSpPr>
          <p:spPr bwMode="gray">
            <a:xfrm rot="20552049">
              <a:off x="2831627" y="4070394"/>
              <a:ext cx="2269" cy="4090"/>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3" name="Group 12">
              <a:extLst>
                <a:ext uri="{FF2B5EF4-FFF2-40B4-BE49-F238E27FC236}">
                  <a16:creationId xmlns:a16="http://schemas.microsoft.com/office/drawing/2014/main" id="{B09EEB9A-BAFF-E01D-DAED-F73040D97E35}"/>
                </a:ext>
              </a:extLst>
            </p:cNvPr>
            <p:cNvGrpSpPr/>
            <p:nvPr/>
          </p:nvGrpSpPr>
          <p:grpSpPr>
            <a:xfrm>
              <a:off x="2704639" y="3913366"/>
              <a:ext cx="154030" cy="140671"/>
              <a:chOff x="2704639" y="3892498"/>
              <a:chExt cx="176880" cy="161539"/>
            </a:xfrm>
          </p:grpSpPr>
          <p:sp>
            <p:nvSpPr>
              <p:cNvPr id="80" name="Freeform 313">
                <a:extLst>
                  <a:ext uri="{FF2B5EF4-FFF2-40B4-BE49-F238E27FC236}">
                    <a16:creationId xmlns:a16="http://schemas.microsoft.com/office/drawing/2014/main" id="{AE149E09-C047-45B3-9C82-54115C48E3AF}"/>
                  </a:ext>
                </a:extLst>
              </p:cNvPr>
              <p:cNvSpPr>
                <a:spLocks noChangeAspect="1"/>
              </p:cNvSpPr>
              <p:nvPr/>
            </p:nvSpPr>
            <p:spPr bwMode="gray">
              <a:xfrm rot="21085610">
                <a:off x="2740920" y="3892498"/>
                <a:ext cx="18142" cy="8179"/>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1" name="Freeform 314">
                <a:extLst>
                  <a:ext uri="{FF2B5EF4-FFF2-40B4-BE49-F238E27FC236}">
                    <a16:creationId xmlns:a16="http://schemas.microsoft.com/office/drawing/2014/main" id="{79D167E0-DA85-4E9A-8FC3-91C171A54D3C}"/>
                  </a:ext>
                </a:extLst>
              </p:cNvPr>
              <p:cNvSpPr>
                <a:spLocks noChangeAspect="1"/>
              </p:cNvSpPr>
              <p:nvPr/>
            </p:nvSpPr>
            <p:spPr bwMode="gray">
              <a:xfrm rot="21085610">
                <a:off x="2770399" y="3894544"/>
                <a:ext cx="2269" cy="20448"/>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2" name="Freeform 315">
                <a:extLst>
                  <a:ext uri="{FF2B5EF4-FFF2-40B4-BE49-F238E27FC236}">
                    <a16:creationId xmlns:a16="http://schemas.microsoft.com/office/drawing/2014/main" id="{7C05380E-72CC-488B-8121-AA0F4775001D}"/>
                  </a:ext>
                </a:extLst>
              </p:cNvPr>
              <p:cNvSpPr>
                <a:spLocks noChangeAspect="1"/>
              </p:cNvSpPr>
              <p:nvPr/>
            </p:nvSpPr>
            <p:spPr bwMode="gray">
              <a:xfrm rot="21085610">
                <a:off x="2770401" y="3941573"/>
                <a:ext cx="4535" cy="2045"/>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3" name="Freeform 316">
                <a:extLst>
                  <a:ext uri="{FF2B5EF4-FFF2-40B4-BE49-F238E27FC236}">
                    <a16:creationId xmlns:a16="http://schemas.microsoft.com/office/drawing/2014/main" id="{EB1B10A5-FCB6-47A1-98E7-A6C0443A0425}"/>
                  </a:ext>
                </a:extLst>
              </p:cNvPr>
              <p:cNvSpPr>
                <a:spLocks noChangeAspect="1"/>
              </p:cNvSpPr>
              <p:nvPr/>
            </p:nvSpPr>
            <p:spPr bwMode="gray">
              <a:xfrm rot="21085610">
                <a:off x="2759063" y="3939528"/>
                <a:ext cx="9071" cy="24538"/>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4" name="Freeform 317">
                <a:extLst>
                  <a:ext uri="{FF2B5EF4-FFF2-40B4-BE49-F238E27FC236}">
                    <a16:creationId xmlns:a16="http://schemas.microsoft.com/office/drawing/2014/main" id="{36564BD7-48AA-4EC0-BFB5-B63E7B80E128}"/>
                  </a:ext>
                </a:extLst>
              </p:cNvPr>
              <p:cNvSpPr>
                <a:spLocks noChangeAspect="1"/>
              </p:cNvSpPr>
              <p:nvPr/>
            </p:nvSpPr>
            <p:spPr bwMode="gray">
              <a:xfrm rot="21085610">
                <a:off x="2770399" y="3968156"/>
                <a:ext cx="2269" cy="12269"/>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5" name="Freeform 318">
                <a:extLst>
                  <a:ext uri="{FF2B5EF4-FFF2-40B4-BE49-F238E27FC236}">
                    <a16:creationId xmlns:a16="http://schemas.microsoft.com/office/drawing/2014/main" id="{52BBABCD-C3C5-4FD3-85CC-31C53DA6A90E}"/>
                  </a:ext>
                </a:extLst>
              </p:cNvPr>
              <p:cNvSpPr>
                <a:spLocks noChangeAspect="1"/>
              </p:cNvSpPr>
              <p:nvPr/>
            </p:nvSpPr>
            <p:spPr bwMode="gray">
              <a:xfrm rot="21085610">
                <a:off x="2790809" y="3933393"/>
                <a:ext cx="2269" cy="16358"/>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6" name="Freeform 319">
                <a:extLst>
                  <a:ext uri="{FF2B5EF4-FFF2-40B4-BE49-F238E27FC236}">
                    <a16:creationId xmlns:a16="http://schemas.microsoft.com/office/drawing/2014/main" id="{F61AED1F-C408-4DC3-9862-486FF0014FF5}"/>
                  </a:ext>
                </a:extLst>
              </p:cNvPr>
              <p:cNvSpPr>
                <a:spLocks noChangeAspect="1"/>
              </p:cNvSpPr>
              <p:nvPr/>
            </p:nvSpPr>
            <p:spPr bwMode="gray">
              <a:xfrm rot="21085610">
                <a:off x="2802149" y="3947707"/>
                <a:ext cx="6804" cy="18404"/>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7" name="Freeform 320">
                <a:extLst>
                  <a:ext uri="{FF2B5EF4-FFF2-40B4-BE49-F238E27FC236}">
                    <a16:creationId xmlns:a16="http://schemas.microsoft.com/office/drawing/2014/main" id="{A027A50C-4E26-4E98-AD80-B282B24580C4}"/>
                  </a:ext>
                </a:extLst>
              </p:cNvPr>
              <p:cNvSpPr>
                <a:spLocks noChangeAspect="1"/>
              </p:cNvSpPr>
              <p:nvPr/>
            </p:nvSpPr>
            <p:spPr bwMode="gray">
              <a:xfrm rot="21085610">
                <a:off x="2822559" y="3962021"/>
                <a:ext cx="4535" cy="4090"/>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8" name="Freeform 321">
                <a:extLst>
                  <a:ext uri="{FF2B5EF4-FFF2-40B4-BE49-F238E27FC236}">
                    <a16:creationId xmlns:a16="http://schemas.microsoft.com/office/drawing/2014/main" id="{E391E57D-34A1-4B75-94E0-76369ECC467A}"/>
                  </a:ext>
                </a:extLst>
              </p:cNvPr>
              <p:cNvSpPr>
                <a:spLocks noChangeAspect="1"/>
              </p:cNvSpPr>
              <p:nvPr/>
            </p:nvSpPr>
            <p:spPr bwMode="gray">
              <a:xfrm rot="21085610">
                <a:off x="2813488" y="3980425"/>
                <a:ext cx="6804" cy="20448"/>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9" name="Freeform 322">
                <a:extLst>
                  <a:ext uri="{FF2B5EF4-FFF2-40B4-BE49-F238E27FC236}">
                    <a16:creationId xmlns:a16="http://schemas.microsoft.com/office/drawing/2014/main" id="{9630F8F9-7D1F-428F-8ED9-B9260AB430A5}"/>
                  </a:ext>
                </a:extLst>
              </p:cNvPr>
              <p:cNvSpPr>
                <a:spLocks noChangeAspect="1"/>
              </p:cNvSpPr>
              <p:nvPr/>
            </p:nvSpPr>
            <p:spPr bwMode="gray">
              <a:xfrm rot="21085610">
                <a:off x="2833896" y="3998826"/>
                <a:ext cx="6804" cy="18404"/>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0" name="Freeform 323">
                <a:extLst>
                  <a:ext uri="{FF2B5EF4-FFF2-40B4-BE49-F238E27FC236}">
                    <a16:creationId xmlns:a16="http://schemas.microsoft.com/office/drawing/2014/main" id="{0A3224B0-1BDF-476D-AADB-03FC43B51873}"/>
                  </a:ext>
                </a:extLst>
              </p:cNvPr>
              <p:cNvSpPr>
                <a:spLocks noChangeAspect="1"/>
              </p:cNvSpPr>
              <p:nvPr/>
            </p:nvSpPr>
            <p:spPr bwMode="gray">
              <a:xfrm rot="21085610">
                <a:off x="2852037" y="4011096"/>
                <a:ext cx="6804" cy="2045"/>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1" name="Freeform 324">
                <a:extLst>
                  <a:ext uri="{FF2B5EF4-FFF2-40B4-BE49-F238E27FC236}">
                    <a16:creationId xmlns:a16="http://schemas.microsoft.com/office/drawing/2014/main" id="{E5047962-BDBD-4281-BBA4-46D1E5C11A10}"/>
                  </a:ext>
                </a:extLst>
              </p:cNvPr>
              <p:cNvSpPr>
                <a:spLocks noChangeAspect="1"/>
              </p:cNvSpPr>
              <p:nvPr/>
            </p:nvSpPr>
            <p:spPr bwMode="gray">
              <a:xfrm rot="21085610">
                <a:off x="2867913" y="4019275"/>
                <a:ext cx="13606" cy="8179"/>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2" name="Freeform 325">
                <a:extLst>
                  <a:ext uri="{FF2B5EF4-FFF2-40B4-BE49-F238E27FC236}">
                    <a16:creationId xmlns:a16="http://schemas.microsoft.com/office/drawing/2014/main" id="{D44EF258-1A16-4448-A0D6-06D51ED757A2}"/>
                  </a:ext>
                </a:extLst>
              </p:cNvPr>
              <p:cNvSpPr>
                <a:spLocks noChangeAspect="1"/>
              </p:cNvSpPr>
              <p:nvPr/>
            </p:nvSpPr>
            <p:spPr bwMode="gray">
              <a:xfrm rot="21085610">
                <a:off x="2849772" y="4041768"/>
                <a:ext cx="9071" cy="12269"/>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3" name="Freeform 326">
                <a:extLst>
                  <a:ext uri="{FF2B5EF4-FFF2-40B4-BE49-F238E27FC236}">
                    <a16:creationId xmlns:a16="http://schemas.microsoft.com/office/drawing/2014/main" id="{2A077231-DDBB-49DF-8DC1-71143DFCD657}"/>
                  </a:ext>
                </a:extLst>
              </p:cNvPr>
              <p:cNvSpPr>
                <a:spLocks noChangeAspect="1"/>
              </p:cNvSpPr>
              <p:nvPr/>
            </p:nvSpPr>
            <p:spPr bwMode="gray">
              <a:xfrm rot="21085610">
                <a:off x="2768133" y="3966111"/>
                <a:ext cx="4535" cy="6135"/>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4" name="Freeform 327">
                <a:extLst>
                  <a:ext uri="{FF2B5EF4-FFF2-40B4-BE49-F238E27FC236}">
                    <a16:creationId xmlns:a16="http://schemas.microsoft.com/office/drawing/2014/main" id="{8AA27552-2C41-459F-84DC-550B659B7921}"/>
                  </a:ext>
                </a:extLst>
              </p:cNvPr>
              <p:cNvSpPr>
                <a:spLocks noChangeAspect="1"/>
              </p:cNvSpPr>
              <p:nvPr/>
            </p:nvSpPr>
            <p:spPr bwMode="gray">
              <a:xfrm rot="21085610">
                <a:off x="2722777" y="3945662"/>
                <a:ext cx="2269" cy="8179"/>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5" name="Freeform 328">
                <a:extLst>
                  <a:ext uri="{FF2B5EF4-FFF2-40B4-BE49-F238E27FC236}">
                    <a16:creationId xmlns:a16="http://schemas.microsoft.com/office/drawing/2014/main" id="{974160A1-D64E-47E3-922B-5C212AC8DE63}"/>
                  </a:ext>
                </a:extLst>
              </p:cNvPr>
              <p:cNvSpPr>
                <a:spLocks noChangeAspect="1"/>
              </p:cNvSpPr>
              <p:nvPr/>
            </p:nvSpPr>
            <p:spPr bwMode="gray">
              <a:xfrm rot="21085610">
                <a:off x="2718244" y="3955887"/>
                <a:ext cx="4535" cy="4090"/>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6" name="Freeform 329">
                <a:extLst>
                  <a:ext uri="{FF2B5EF4-FFF2-40B4-BE49-F238E27FC236}">
                    <a16:creationId xmlns:a16="http://schemas.microsoft.com/office/drawing/2014/main" id="{991A2628-D3D6-40A0-BD0E-5AA141ECCF29}"/>
                  </a:ext>
                </a:extLst>
              </p:cNvPr>
              <p:cNvSpPr>
                <a:spLocks noChangeAspect="1"/>
              </p:cNvSpPr>
              <p:nvPr/>
            </p:nvSpPr>
            <p:spPr bwMode="gray">
              <a:xfrm rot="21085610">
                <a:off x="2704639" y="3959976"/>
                <a:ext cx="9071" cy="8179"/>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4" name="Freeform 349">
                <a:extLst>
                  <a:ext uri="{FF2B5EF4-FFF2-40B4-BE49-F238E27FC236}">
                    <a16:creationId xmlns:a16="http://schemas.microsoft.com/office/drawing/2014/main" id="{1F5371F2-53DD-4448-8308-CD90F2BE4555}"/>
                  </a:ext>
                </a:extLst>
              </p:cNvPr>
              <p:cNvSpPr>
                <a:spLocks noChangeAspect="1"/>
              </p:cNvSpPr>
              <p:nvPr/>
            </p:nvSpPr>
            <p:spPr bwMode="gray">
              <a:xfrm rot="20552049">
                <a:off x="2722779" y="4025410"/>
                <a:ext cx="15875" cy="18404"/>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sp>
        <p:nvSpPr>
          <p:cNvPr id="105" name="Freeform 340">
            <a:extLst>
              <a:ext uri="{FF2B5EF4-FFF2-40B4-BE49-F238E27FC236}">
                <a16:creationId xmlns:a16="http://schemas.microsoft.com/office/drawing/2014/main" id="{A38BCC78-ACE0-48B5-BAF3-BD04AC3CF808}"/>
              </a:ext>
            </a:extLst>
          </p:cNvPr>
          <p:cNvSpPr>
            <a:spLocks noChangeAspect="1"/>
          </p:cNvSpPr>
          <p:nvPr/>
        </p:nvSpPr>
        <p:spPr bwMode="gray">
          <a:xfrm rot="20552049">
            <a:off x="2931409" y="4086753"/>
            <a:ext cx="22677" cy="16358"/>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24" name="Group 23">
            <a:extLst>
              <a:ext uri="{FF2B5EF4-FFF2-40B4-BE49-F238E27FC236}">
                <a16:creationId xmlns:a16="http://schemas.microsoft.com/office/drawing/2014/main" id="{94FC99A7-39A9-1F34-CF89-5F03FC9B28B5}"/>
              </a:ext>
            </a:extLst>
          </p:cNvPr>
          <p:cNvGrpSpPr/>
          <p:nvPr/>
        </p:nvGrpSpPr>
        <p:grpSpPr>
          <a:xfrm>
            <a:off x="2965422" y="4060524"/>
            <a:ext cx="147022" cy="204126"/>
            <a:chOff x="2965422" y="4060524"/>
            <a:chExt cx="147022" cy="204126"/>
          </a:xfrm>
        </p:grpSpPr>
        <p:sp>
          <p:nvSpPr>
            <p:cNvPr id="108" name="Freeform 343">
              <a:extLst>
                <a:ext uri="{FF2B5EF4-FFF2-40B4-BE49-F238E27FC236}">
                  <a16:creationId xmlns:a16="http://schemas.microsoft.com/office/drawing/2014/main" id="{7EE18F59-3B50-4423-BB41-BA537F12B149}"/>
                </a:ext>
              </a:extLst>
            </p:cNvPr>
            <p:cNvSpPr>
              <a:spLocks noChangeAspect="1"/>
            </p:cNvSpPr>
            <p:nvPr/>
          </p:nvSpPr>
          <p:spPr bwMode="gray">
            <a:xfrm rot="20552049">
              <a:off x="2965422" y="4082664"/>
              <a:ext cx="0" cy="2045"/>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9" name="Freeform 344">
              <a:extLst>
                <a:ext uri="{FF2B5EF4-FFF2-40B4-BE49-F238E27FC236}">
                  <a16:creationId xmlns:a16="http://schemas.microsoft.com/office/drawing/2014/main" id="{ED555FFC-B3D4-4554-A6A3-F5EBD7A53E48}"/>
                </a:ext>
              </a:extLst>
            </p:cNvPr>
            <p:cNvSpPr>
              <a:spLocks noChangeAspect="1"/>
            </p:cNvSpPr>
            <p:nvPr/>
          </p:nvSpPr>
          <p:spPr bwMode="gray">
            <a:xfrm rot="20552049">
              <a:off x="2969957" y="4099021"/>
              <a:ext cx="2269" cy="4090"/>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5" name="Group 14">
              <a:extLst>
                <a:ext uri="{FF2B5EF4-FFF2-40B4-BE49-F238E27FC236}">
                  <a16:creationId xmlns:a16="http://schemas.microsoft.com/office/drawing/2014/main" id="{3ECC3BB4-C3B7-BC67-E465-A82BEE9A143E}"/>
                </a:ext>
              </a:extLst>
            </p:cNvPr>
            <p:cNvGrpSpPr/>
            <p:nvPr/>
          </p:nvGrpSpPr>
          <p:grpSpPr>
            <a:xfrm>
              <a:off x="3006241" y="4060524"/>
              <a:ext cx="106203" cy="204126"/>
              <a:chOff x="3006241" y="4099022"/>
              <a:chExt cx="86173" cy="165628"/>
            </a:xfrm>
          </p:grpSpPr>
          <p:sp>
            <p:nvSpPr>
              <p:cNvPr id="99" name="Freeform 332">
                <a:extLst>
                  <a:ext uri="{FF2B5EF4-FFF2-40B4-BE49-F238E27FC236}">
                    <a16:creationId xmlns:a16="http://schemas.microsoft.com/office/drawing/2014/main" id="{563D45C8-73D1-4E00-BE47-4F3269E968A6}"/>
                  </a:ext>
                </a:extLst>
              </p:cNvPr>
              <p:cNvSpPr>
                <a:spLocks noChangeAspect="1"/>
              </p:cNvSpPr>
              <p:nvPr/>
            </p:nvSpPr>
            <p:spPr bwMode="gray">
              <a:xfrm rot="20552049">
                <a:off x="3022115" y="4103112"/>
                <a:ext cx="2269" cy="2045"/>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0" name="Freeform 333">
                <a:extLst>
                  <a:ext uri="{FF2B5EF4-FFF2-40B4-BE49-F238E27FC236}">
                    <a16:creationId xmlns:a16="http://schemas.microsoft.com/office/drawing/2014/main" id="{4E5DA050-EE12-4733-A4FC-A1CC81EDB80E}"/>
                  </a:ext>
                </a:extLst>
              </p:cNvPr>
              <p:cNvSpPr>
                <a:spLocks noChangeAspect="1"/>
              </p:cNvSpPr>
              <p:nvPr/>
            </p:nvSpPr>
            <p:spPr bwMode="gray">
              <a:xfrm rot="20552049">
                <a:off x="3053865" y="4158320"/>
                <a:ext cx="4535" cy="14314"/>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1" name="Freeform 334">
                <a:extLst>
                  <a:ext uri="{FF2B5EF4-FFF2-40B4-BE49-F238E27FC236}">
                    <a16:creationId xmlns:a16="http://schemas.microsoft.com/office/drawing/2014/main" id="{5EFF747C-8ED7-40B0-AED9-1D2FB3F798D5}"/>
                  </a:ext>
                </a:extLst>
              </p:cNvPr>
              <p:cNvSpPr>
                <a:spLocks noChangeAspect="1"/>
              </p:cNvSpPr>
              <p:nvPr/>
            </p:nvSpPr>
            <p:spPr bwMode="gray">
              <a:xfrm rot="20552049">
                <a:off x="3087879" y="4258515"/>
                <a:ext cx="4535" cy="6135"/>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6" name="Freeform 341">
                <a:extLst>
                  <a:ext uri="{FF2B5EF4-FFF2-40B4-BE49-F238E27FC236}">
                    <a16:creationId xmlns:a16="http://schemas.microsoft.com/office/drawing/2014/main" id="{19DB484F-83E1-4EB4-8359-74BFBF71F9A3}"/>
                  </a:ext>
                </a:extLst>
              </p:cNvPr>
              <p:cNvSpPr>
                <a:spLocks noChangeAspect="1"/>
              </p:cNvSpPr>
              <p:nvPr/>
            </p:nvSpPr>
            <p:spPr bwMode="gray">
              <a:xfrm rot="20552049">
                <a:off x="3069737" y="4205351"/>
                <a:ext cx="0" cy="6135"/>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7" name="Freeform 342">
                <a:extLst>
                  <a:ext uri="{FF2B5EF4-FFF2-40B4-BE49-F238E27FC236}">
                    <a16:creationId xmlns:a16="http://schemas.microsoft.com/office/drawing/2014/main" id="{C1219608-71EE-4932-B586-A95AE7EE39F9}"/>
                  </a:ext>
                </a:extLst>
              </p:cNvPr>
              <p:cNvSpPr>
                <a:spLocks noChangeAspect="1"/>
              </p:cNvSpPr>
              <p:nvPr/>
            </p:nvSpPr>
            <p:spPr bwMode="gray">
              <a:xfrm rot="20552049">
                <a:off x="3031188" y="4119470"/>
                <a:ext cx="6804" cy="14314"/>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0" name="Freeform 345">
                <a:extLst>
                  <a:ext uri="{FF2B5EF4-FFF2-40B4-BE49-F238E27FC236}">
                    <a16:creationId xmlns:a16="http://schemas.microsoft.com/office/drawing/2014/main" id="{2418E371-2ABB-4F41-B57F-5F03BF7DBF8D}"/>
                  </a:ext>
                </a:extLst>
              </p:cNvPr>
              <p:cNvSpPr>
                <a:spLocks noChangeAspect="1"/>
              </p:cNvSpPr>
              <p:nvPr/>
            </p:nvSpPr>
            <p:spPr bwMode="gray">
              <a:xfrm rot="20552049">
                <a:off x="3042525" y="4141962"/>
                <a:ext cx="4535" cy="10225"/>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1" name="Freeform 346">
                <a:extLst>
                  <a:ext uri="{FF2B5EF4-FFF2-40B4-BE49-F238E27FC236}">
                    <a16:creationId xmlns:a16="http://schemas.microsoft.com/office/drawing/2014/main" id="{EE828F38-26AF-455E-83EA-9C61ED349C42}"/>
                  </a:ext>
                </a:extLst>
              </p:cNvPr>
              <p:cNvSpPr>
                <a:spLocks noChangeAspect="1"/>
              </p:cNvSpPr>
              <p:nvPr/>
            </p:nvSpPr>
            <p:spPr bwMode="gray">
              <a:xfrm rot="20552049">
                <a:off x="3069736" y="4238067"/>
                <a:ext cx="2269" cy="6135"/>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5" name="Freeform 350">
                <a:extLst>
                  <a:ext uri="{FF2B5EF4-FFF2-40B4-BE49-F238E27FC236}">
                    <a16:creationId xmlns:a16="http://schemas.microsoft.com/office/drawing/2014/main" id="{3F485EB3-C97E-478E-A398-128B470857C4}"/>
                  </a:ext>
                </a:extLst>
              </p:cNvPr>
              <p:cNvSpPr>
                <a:spLocks noChangeAspect="1"/>
              </p:cNvSpPr>
              <p:nvPr/>
            </p:nvSpPr>
            <p:spPr bwMode="gray">
              <a:xfrm rot="20552049">
                <a:off x="3006241" y="4099022"/>
                <a:ext cx="0" cy="6135"/>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6" name="Freeform 351">
                <a:extLst>
                  <a:ext uri="{FF2B5EF4-FFF2-40B4-BE49-F238E27FC236}">
                    <a16:creationId xmlns:a16="http://schemas.microsoft.com/office/drawing/2014/main" id="{7271431E-07D9-4A85-98C7-9AE13287CB6C}"/>
                  </a:ext>
                </a:extLst>
              </p:cNvPr>
              <p:cNvSpPr>
                <a:spLocks noChangeAspect="1"/>
              </p:cNvSpPr>
              <p:nvPr/>
            </p:nvSpPr>
            <p:spPr bwMode="gray">
              <a:xfrm rot="20552049">
                <a:off x="3065202" y="4184902"/>
                <a:ext cx="2269" cy="8179"/>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grpSp>
        <p:nvGrpSpPr>
          <p:cNvPr id="19" name="Group 18">
            <a:extLst>
              <a:ext uri="{FF2B5EF4-FFF2-40B4-BE49-F238E27FC236}">
                <a16:creationId xmlns:a16="http://schemas.microsoft.com/office/drawing/2014/main" id="{A2AE5B6C-3235-BBEC-5A89-92D0358A7622}"/>
              </a:ext>
            </a:extLst>
          </p:cNvPr>
          <p:cNvGrpSpPr/>
          <p:nvPr/>
        </p:nvGrpSpPr>
        <p:grpSpPr>
          <a:xfrm>
            <a:off x="7513146" y="4930485"/>
            <a:ext cx="1006862" cy="842451"/>
            <a:chOff x="7513146" y="4930485"/>
            <a:chExt cx="1006862" cy="842451"/>
          </a:xfrm>
        </p:grpSpPr>
        <p:sp>
          <p:nvSpPr>
            <p:cNvPr id="617" name="Freeform 53">
              <a:extLst>
                <a:ext uri="{FF2B5EF4-FFF2-40B4-BE49-F238E27FC236}">
                  <a16:creationId xmlns:a16="http://schemas.microsoft.com/office/drawing/2014/main" id="{A39B05FD-3730-4238-9C88-9F37CB9E8632}"/>
                </a:ext>
              </a:extLst>
            </p:cNvPr>
            <p:cNvSpPr>
              <a:spLocks noChangeAspect="1"/>
            </p:cNvSpPr>
            <p:nvPr/>
          </p:nvSpPr>
          <p:spPr bwMode="gray">
            <a:xfrm>
              <a:off x="8300040" y="5685010"/>
              <a:ext cx="90708" cy="87926"/>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18" name="Freeform 54">
              <a:extLst>
                <a:ext uri="{FF2B5EF4-FFF2-40B4-BE49-F238E27FC236}">
                  <a16:creationId xmlns:a16="http://schemas.microsoft.com/office/drawing/2014/main" id="{BE858D6D-286D-4E11-81BF-C74F7D25F86E}"/>
                </a:ext>
              </a:extLst>
            </p:cNvPr>
            <p:cNvSpPr>
              <a:spLocks noChangeAspect="1"/>
            </p:cNvSpPr>
            <p:nvPr/>
          </p:nvSpPr>
          <p:spPr bwMode="gray">
            <a:xfrm>
              <a:off x="7513146" y="4930485"/>
              <a:ext cx="1006862" cy="7095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18" name="Group 17">
            <a:extLst>
              <a:ext uri="{FF2B5EF4-FFF2-40B4-BE49-F238E27FC236}">
                <a16:creationId xmlns:a16="http://schemas.microsoft.com/office/drawing/2014/main" id="{67E0A9DE-1021-615E-234A-C0637F345FDF}"/>
              </a:ext>
            </a:extLst>
          </p:cNvPr>
          <p:cNvGrpSpPr/>
          <p:nvPr/>
        </p:nvGrpSpPr>
        <p:grpSpPr>
          <a:xfrm>
            <a:off x="8839756" y="5509159"/>
            <a:ext cx="297069" cy="361926"/>
            <a:chOff x="8839756" y="5509159"/>
            <a:chExt cx="297069" cy="361926"/>
          </a:xfrm>
        </p:grpSpPr>
        <p:sp>
          <p:nvSpPr>
            <p:cNvPr id="619" name="Freeform 55">
              <a:extLst>
                <a:ext uri="{FF2B5EF4-FFF2-40B4-BE49-F238E27FC236}">
                  <a16:creationId xmlns:a16="http://schemas.microsoft.com/office/drawing/2014/main" id="{C3E6BA0C-23CC-4183-90FB-779647706429}"/>
                </a:ext>
              </a:extLst>
            </p:cNvPr>
            <p:cNvSpPr>
              <a:spLocks noChangeAspect="1"/>
            </p:cNvSpPr>
            <p:nvPr/>
          </p:nvSpPr>
          <p:spPr bwMode="gray">
            <a:xfrm>
              <a:off x="8839756" y="5682965"/>
              <a:ext cx="192756" cy="188120"/>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0" name="Freeform 56">
              <a:extLst>
                <a:ext uri="{FF2B5EF4-FFF2-40B4-BE49-F238E27FC236}">
                  <a16:creationId xmlns:a16="http://schemas.microsoft.com/office/drawing/2014/main" id="{D9DB033B-ECA3-4203-98E9-036D4DC32AE7}"/>
                </a:ext>
              </a:extLst>
            </p:cNvPr>
            <p:cNvSpPr>
              <a:spLocks noChangeAspect="1"/>
            </p:cNvSpPr>
            <p:nvPr/>
          </p:nvSpPr>
          <p:spPr bwMode="gray">
            <a:xfrm>
              <a:off x="8993959" y="5509159"/>
              <a:ext cx="142866" cy="202434"/>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22" name="Freeform 58">
            <a:extLst>
              <a:ext uri="{FF2B5EF4-FFF2-40B4-BE49-F238E27FC236}">
                <a16:creationId xmlns:a16="http://schemas.microsoft.com/office/drawing/2014/main" id="{28887B4E-5A14-4ECF-A3AA-86C045519EF4}"/>
              </a:ext>
            </a:extLst>
          </p:cNvPr>
          <p:cNvSpPr>
            <a:spLocks noChangeAspect="1"/>
          </p:cNvSpPr>
          <p:nvPr/>
        </p:nvSpPr>
        <p:spPr bwMode="gray">
          <a:xfrm>
            <a:off x="6422378" y="3617735"/>
            <a:ext cx="274393" cy="118597"/>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2" name="Group 21">
            <a:extLst>
              <a:ext uri="{FF2B5EF4-FFF2-40B4-BE49-F238E27FC236}">
                <a16:creationId xmlns:a16="http://schemas.microsoft.com/office/drawing/2014/main" id="{2A4F486F-B151-079A-22CC-4C56070EC16C}"/>
              </a:ext>
            </a:extLst>
          </p:cNvPr>
          <p:cNvGrpSpPr/>
          <p:nvPr/>
        </p:nvGrpSpPr>
        <p:grpSpPr>
          <a:xfrm>
            <a:off x="6377023" y="3683168"/>
            <a:ext cx="188221" cy="126777"/>
            <a:chOff x="6377023" y="3683168"/>
            <a:chExt cx="188221" cy="126777"/>
          </a:xfrm>
        </p:grpSpPr>
        <p:sp>
          <p:nvSpPr>
            <p:cNvPr id="623" name="Freeform 59">
              <a:extLst>
                <a:ext uri="{FF2B5EF4-FFF2-40B4-BE49-F238E27FC236}">
                  <a16:creationId xmlns:a16="http://schemas.microsoft.com/office/drawing/2014/main" id="{BFDA3A3C-A098-48FE-8AE3-3A1B2695B95A}"/>
                </a:ext>
              </a:extLst>
            </p:cNvPr>
            <p:cNvSpPr>
              <a:spLocks noChangeAspect="1"/>
            </p:cNvSpPr>
            <p:nvPr/>
          </p:nvSpPr>
          <p:spPr bwMode="gray">
            <a:xfrm>
              <a:off x="6377023" y="3683168"/>
              <a:ext cx="188221" cy="12677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4" name="Freeform 60">
              <a:extLst>
                <a:ext uri="{FF2B5EF4-FFF2-40B4-BE49-F238E27FC236}">
                  <a16:creationId xmlns:a16="http://schemas.microsoft.com/office/drawing/2014/main" id="{0EF64B0B-8BE7-4841-AB2C-4CC145D7DAFC}"/>
                </a:ext>
              </a:extLst>
            </p:cNvPr>
            <p:cNvSpPr>
              <a:spLocks noChangeAspect="1"/>
            </p:cNvSpPr>
            <p:nvPr/>
          </p:nvSpPr>
          <p:spPr bwMode="gray">
            <a:xfrm>
              <a:off x="6465464" y="3709750"/>
              <a:ext cx="6804" cy="8179"/>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5" name="Freeform 61">
              <a:extLst>
                <a:ext uri="{FF2B5EF4-FFF2-40B4-BE49-F238E27FC236}">
                  <a16:creationId xmlns:a16="http://schemas.microsoft.com/office/drawing/2014/main" id="{5EA50B55-620A-4AD1-897B-3551F5012810}"/>
                </a:ext>
              </a:extLst>
            </p:cNvPr>
            <p:cNvSpPr>
              <a:spLocks noChangeAspect="1"/>
            </p:cNvSpPr>
            <p:nvPr/>
          </p:nvSpPr>
          <p:spPr bwMode="gray">
            <a:xfrm>
              <a:off x="6481339" y="3713840"/>
              <a:ext cx="6804" cy="4090"/>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6" name="Freeform 62">
              <a:extLst>
                <a:ext uri="{FF2B5EF4-FFF2-40B4-BE49-F238E27FC236}">
                  <a16:creationId xmlns:a16="http://schemas.microsoft.com/office/drawing/2014/main" id="{8D2993E8-95E7-4B98-B46D-24DF7D4908EA}"/>
                </a:ext>
              </a:extLst>
            </p:cNvPr>
            <p:cNvSpPr>
              <a:spLocks noChangeAspect="1"/>
            </p:cNvSpPr>
            <p:nvPr/>
          </p:nvSpPr>
          <p:spPr bwMode="gray">
            <a:xfrm>
              <a:off x="6454126" y="3717930"/>
              <a:ext cx="4535" cy="4090"/>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27" name="Freeform 63">
            <a:extLst>
              <a:ext uri="{FF2B5EF4-FFF2-40B4-BE49-F238E27FC236}">
                <a16:creationId xmlns:a16="http://schemas.microsoft.com/office/drawing/2014/main" id="{B7094F1A-E009-4BE0-8123-30EB0B00D6FB}"/>
              </a:ext>
            </a:extLst>
          </p:cNvPr>
          <p:cNvSpPr>
            <a:spLocks noChangeAspect="1"/>
          </p:cNvSpPr>
          <p:nvPr/>
        </p:nvSpPr>
        <p:spPr bwMode="gray">
          <a:xfrm>
            <a:off x="6204679" y="3758826"/>
            <a:ext cx="358298" cy="245374"/>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1" name="Group 20">
            <a:extLst>
              <a:ext uri="{FF2B5EF4-FFF2-40B4-BE49-F238E27FC236}">
                <a16:creationId xmlns:a16="http://schemas.microsoft.com/office/drawing/2014/main" id="{919B079D-90F4-7856-1A8B-3CC96C8B65CE}"/>
              </a:ext>
            </a:extLst>
          </p:cNvPr>
          <p:cNvGrpSpPr/>
          <p:nvPr/>
        </p:nvGrpSpPr>
        <p:grpSpPr>
          <a:xfrm>
            <a:off x="8209333" y="4748500"/>
            <a:ext cx="303871" cy="181987"/>
            <a:chOff x="8209333" y="4748500"/>
            <a:chExt cx="303871" cy="181987"/>
          </a:xfrm>
        </p:grpSpPr>
        <p:grpSp>
          <p:nvGrpSpPr>
            <p:cNvPr id="17" name="Group 16">
              <a:extLst>
                <a:ext uri="{FF2B5EF4-FFF2-40B4-BE49-F238E27FC236}">
                  <a16:creationId xmlns:a16="http://schemas.microsoft.com/office/drawing/2014/main" id="{89CFBC56-74A0-77E8-F748-4E28E8659916}"/>
                </a:ext>
              </a:extLst>
            </p:cNvPr>
            <p:cNvGrpSpPr/>
            <p:nvPr/>
          </p:nvGrpSpPr>
          <p:grpSpPr>
            <a:xfrm>
              <a:off x="8209333" y="4748501"/>
              <a:ext cx="283462" cy="181986"/>
              <a:chOff x="8209333" y="4748501"/>
              <a:chExt cx="283462" cy="181986"/>
            </a:xfrm>
          </p:grpSpPr>
          <p:sp>
            <p:nvSpPr>
              <p:cNvPr id="631" name="Freeform 67">
                <a:extLst>
                  <a:ext uri="{FF2B5EF4-FFF2-40B4-BE49-F238E27FC236}">
                    <a16:creationId xmlns:a16="http://schemas.microsoft.com/office/drawing/2014/main" id="{0AA69D08-BF30-45E2-BECA-FD5D0BA59A51}"/>
                  </a:ext>
                </a:extLst>
              </p:cNvPr>
              <p:cNvSpPr>
                <a:spLocks noChangeAspect="1"/>
              </p:cNvSpPr>
              <p:nvPr/>
            </p:nvSpPr>
            <p:spPr bwMode="gray">
              <a:xfrm>
                <a:off x="8393016" y="4783261"/>
                <a:ext cx="99779" cy="49075"/>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32" name="Freeform 68">
                <a:extLst>
                  <a:ext uri="{FF2B5EF4-FFF2-40B4-BE49-F238E27FC236}">
                    <a16:creationId xmlns:a16="http://schemas.microsoft.com/office/drawing/2014/main" id="{A4AD1C87-4F69-478C-BA8E-335287A8EBBB}"/>
                  </a:ext>
                </a:extLst>
              </p:cNvPr>
              <p:cNvSpPr>
                <a:spLocks noChangeAspect="1"/>
              </p:cNvSpPr>
              <p:nvPr/>
            </p:nvSpPr>
            <p:spPr bwMode="gray">
              <a:xfrm>
                <a:off x="8209333" y="4748501"/>
                <a:ext cx="247181" cy="181986"/>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42" name="Freeform 89">
              <a:extLst>
                <a:ext uri="{FF2B5EF4-FFF2-40B4-BE49-F238E27FC236}">
                  <a16:creationId xmlns:a16="http://schemas.microsoft.com/office/drawing/2014/main" id="{5EFBFF0A-EECC-4615-B8A6-43EFBC5B1360}"/>
                </a:ext>
              </a:extLst>
            </p:cNvPr>
            <p:cNvSpPr>
              <a:spLocks noChangeAspect="1"/>
            </p:cNvSpPr>
            <p:nvPr/>
          </p:nvSpPr>
          <p:spPr bwMode="gray">
            <a:xfrm>
              <a:off x="8454244" y="4748500"/>
              <a:ext cx="58960" cy="49075"/>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43" name="Freeform 90">
            <a:extLst>
              <a:ext uri="{FF2B5EF4-FFF2-40B4-BE49-F238E27FC236}">
                <a16:creationId xmlns:a16="http://schemas.microsoft.com/office/drawing/2014/main" id="{5DC66BB6-98E1-41AE-950C-1176D5BA60AD}"/>
              </a:ext>
            </a:extLst>
          </p:cNvPr>
          <p:cNvSpPr>
            <a:spLocks noChangeAspect="1"/>
          </p:cNvSpPr>
          <p:nvPr/>
        </p:nvSpPr>
        <p:spPr bwMode="gray">
          <a:xfrm>
            <a:off x="7241021" y="4159602"/>
            <a:ext cx="179150" cy="339434"/>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6" name="Freeform 93">
            <a:extLst>
              <a:ext uri="{FF2B5EF4-FFF2-40B4-BE49-F238E27FC236}">
                <a16:creationId xmlns:a16="http://schemas.microsoft.com/office/drawing/2014/main" id="{C458B438-D79F-45DB-9618-A937900C22D1}"/>
              </a:ext>
            </a:extLst>
          </p:cNvPr>
          <p:cNvSpPr>
            <a:spLocks noChangeAspect="1"/>
          </p:cNvSpPr>
          <p:nvPr/>
        </p:nvSpPr>
        <p:spPr bwMode="gray">
          <a:xfrm>
            <a:off x="7129905" y="4218901"/>
            <a:ext cx="195023" cy="345569"/>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7" name="Freeform 94">
            <a:extLst>
              <a:ext uri="{FF2B5EF4-FFF2-40B4-BE49-F238E27FC236}">
                <a16:creationId xmlns:a16="http://schemas.microsoft.com/office/drawing/2014/main" id="{CFD2EE62-B9D4-44FF-ABEA-D4204F47081F}"/>
              </a:ext>
            </a:extLst>
          </p:cNvPr>
          <p:cNvSpPr>
            <a:spLocks noChangeAspect="1"/>
          </p:cNvSpPr>
          <p:nvPr/>
        </p:nvSpPr>
        <p:spPr bwMode="gray">
          <a:xfrm>
            <a:off x="6996109" y="4032827"/>
            <a:ext cx="219968" cy="429404"/>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8" name="Freeform 95">
            <a:extLst>
              <a:ext uri="{FF2B5EF4-FFF2-40B4-BE49-F238E27FC236}">
                <a16:creationId xmlns:a16="http://schemas.microsoft.com/office/drawing/2014/main" id="{2B9B3081-5042-4EAF-A052-A392043D74CB}"/>
              </a:ext>
            </a:extLst>
          </p:cNvPr>
          <p:cNvSpPr>
            <a:spLocks noChangeAspect="1"/>
          </p:cNvSpPr>
          <p:nvPr/>
        </p:nvSpPr>
        <p:spPr bwMode="gray">
          <a:xfrm>
            <a:off x="7245555" y="4359992"/>
            <a:ext cx="131528" cy="96105"/>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9" name="Freeform 96">
            <a:extLst>
              <a:ext uri="{FF2B5EF4-FFF2-40B4-BE49-F238E27FC236}">
                <a16:creationId xmlns:a16="http://schemas.microsoft.com/office/drawing/2014/main" id="{9166CFCF-03EF-4968-A46F-5970E4755CD3}"/>
              </a:ext>
            </a:extLst>
          </p:cNvPr>
          <p:cNvSpPr>
            <a:spLocks noChangeAspect="1"/>
          </p:cNvSpPr>
          <p:nvPr/>
        </p:nvSpPr>
        <p:spPr bwMode="gray">
          <a:xfrm>
            <a:off x="7193400" y="4175961"/>
            <a:ext cx="179150" cy="200389"/>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0" name="Freeform 100">
            <a:extLst>
              <a:ext uri="{FF2B5EF4-FFF2-40B4-BE49-F238E27FC236}">
                <a16:creationId xmlns:a16="http://schemas.microsoft.com/office/drawing/2014/main" id="{1E6F4B81-4421-458A-B4DC-2AE3B711D91D}"/>
              </a:ext>
            </a:extLst>
          </p:cNvPr>
          <p:cNvSpPr>
            <a:spLocks noChangeAspect="1"/>
          </p:cNvSpPr>
          <p:nvPr/>
        </p:nvSpPr>
        <p:spPr bwMode="gray">
          <a:xfrm>
            <a:off x="6213608" y="3801804"/>
            <a:ext cx="417250" cy="343527"/>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1" name="Freeform 101">
            <a:extLst>
              <a:ext uri="{FF2B5EF4-FFF2-40B4-BE49-F238E27FC236}">
                <a16:creationId xmlns:a16="http://schemas.microsoft.com/office/drawing/2014/main" id="{52AA784C-615F-4242-8B98-9669BEBCC7CB}"/>
              </a:ext>
            </a:extLst>
          </p:cNvPr>
          <p:cNvSpPr>
            <a:spLocks noChangeAspect="1"/>
          </p:cNvSpPr>
          <p:nvPr/>
        </p:nvSpPr>
        <p:spPr bwMode="gray">
          <a:xfrm>
            <a:off x="6907513" y="4032867"/>
            <a:ext cx="83904" cy="40896"/>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2" name="Freeform 102">
            <a:extLst>
              <a:ext uri="{FF2B5EF4-FFF2-40B4-BE49-F238E27FC236}">
                <a16:creationId xmlns:a16="http://schemas.microsoft.com/office/drawing/2014/main" id="{3BB4E474-9826-4BDB-B06D-1E1AC0EC6D7C}"/>
              </a:ext>
            </a:extLst>
          </p:cNvPr>
          <p:cNvSpPr>
            <a:spLocks noChangeAspect="1"/>
          </p:cNvSpPr>
          <p:nvPr/>
        </p:nvSpPr>
        <p:spPr bwMode="gray">
          <a:xfrm>
            <a:off x="6692085" y="3981747"/>
            <a:ext cx="199554" cy="10019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7" name="Group 26">
            <a:extLst>
              <a:ext uri="{FF2B5EF4-FFF2-40B4-BE49-F238E27FC236}">
                <a16:creationId xmlns:a16="http://schemas.microsoft.com/office/drawing/2014/main" id="{3FA901F1-A66C-C9AF-1D69-28933058AB98}"/>
              </a:ext>
            </a:extLst>
          </p:cNvPr>
          <p:cNvGrpSpPr/>
          <p:nvPr/>
        </p:nvGrpSpPr>
        <p:grpSpPr>
          <a:xfrm>
            <a:off x="6884836" y="4077852"/>
            <a:ext cx="117919" cy="137002"/>
            <a:chOff x="6884836" y="4077852"/>
            <a:chExt cx="117919" cy="137002"/>
          </a:xfrm>
        </p:grpSpPr>
        <p:sp>
          <p:nvSpPr>
            <p:cNvPr id="879" name="Freeform 98">
              <a:extLst>
                <a:ext uri="{FF2B5EF4-FFF2-40B4-BE49-F238E27FC236}">
                  <a16:creationId xmlns:a16="http://schemas.microsoft.com/office/drawing/2014/main" id="{6483B988-4506-40B6-8080-4D61F44A48FF}"/>
                </a:ext>
              </a:extLst>
            </p:cNvPr>
            <p:cNvSpPr>
              <a:spLocks noChangeAspect="1"/>
            </p:cNvSpPr>
            <p:nvPr/>
          </p:nvSpPr>
          <p:spPr bwMode="gray">
            <a:xfrm>
              <a:off x="6952866" y="4169868"/>
              <a:ext cx="6803" cy="10224"/>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3" name="Freeform 103">
              <a:extLst>
                <a:ext uri="{FF2B5EF4-FFF2-40B4-BE49-F238E27FC236}">
                  <a16:creationId xmlns:a16="http://schemas.microsoft.com/office/drawing/2014/main" id="{AF87A6B6-0556-434E-AC8C-4DCD0DC066E2}"/>
                </a:ext>
              </a:extLst>
            </p:cNvPr>
            <p:cNvSpPr>
              <a:spLocks noChangeAspect="1"/>
            </p:cNvSpPr>
            <p:nvPr/>
          </p:nvSpPr>
          <p:spPr bwMode="gray">
            <a:xfrm>
              <a:off x="6884836" y="4077852"/>
              <a:ext cx="117919" cy="137002"/>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84" name="Freeform 104">
            <a:extLst>
              <a:ext uri="{FF2B5EF4-FFF2-40B4-BE49-F238E27FC236}">
                <a16:creationId xmlns:a16="http://schemas.microsoft.com/office/drawing/2014/main" id="{651520E1-437D-4AEF-8EF7-528949C5D657}"/>
              </a:ext>
            </a:extLst>
          </p:cNvPr>
          <p:cNvSpPr>
            <a:spLocks noChangeAspect="1"/>
          </p:cNvSpPr>
          <p:nvPr/>
        </p:nvSpPr>
        <p:spPr bwMode="gray">
          <a:xfrm>
            <a:off x="6683014" y="4470454"/>
            <a:ext cx="52156" cy="87927"/>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52" name="Group 651">
            <a:extLst>
              <a:ext uri="{FF2B5EF4-FFF2-40B4-BE49-F238E27FC236}">
                <a16:creationId xmlns:a16="http://schemas.microsoft.com/office/drawing/2014/main" id="{82C29BDF-557D-4BA2-872A-5624FC01DD0E}"/>
              </a:ext>
            </a:extLst>
          </p:cNvPr>
          <p:cNvGrpSpPr>
            <a:grpSpLocks noChangeAspect="1"/>
          </p:cNvGrpSpPr>
          <p:nvPr/>
        </p:nvGrpSpPr>
        <p:grpSpPr bwMode="gray">
          <a:xfrm>
            <a:off x="7925892" y="3550267"/>
            <a:ext cx="403653" cy="413047"/>
            <a:chOff x="3938" y="1929"/>
            <a:chExt cx="178" cy="202"/>
          </a:xfrm>
          <a:solidFill>
            <a:srgbClr val="D9D9D9"/>
          </a:solidFill>
        </p:grpSpPr>
        <p:sp>
          <p:nvSpPr>
            <p:cNvPr id="875" name="Freeform 107">
              <a:extLst>
                <a:ext uri="{FF2B5EF4-FFF2-40B4-BE49-F238E27FC236}">
                  <a16:creationId xmlns:a16="http://schemas.microsoft.com/office/drawing/2014/main" id="{0122F93E-8A82-432A-AEB0-8F4BDD8FE8D4}"/>
                </a:ext>
              </a:extLst>
            </p:cNvPr>
            <p:cNvSpPr>
              <a:spLocks noChangeAspect="1"/>
            </p:cNvSpPr>
            <p:nvPr/>
          </p:nvSpPr>
          <p:spPr bwMode="gray">
            <a:xfrm>
              <a:off x="4050" y="1929"/>
              <a:ext cx="66" cy="61"/>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6" name="Freeform 108">
              <a:extLst>
                <a:ext uri="{FF2B5EF4-FFF2-40B4-BE49-F238E27FC236}">
                  <a16:creationId xmlns:a16="http://schemas.microsoft.com/office/drawing/2014/main" id="{B9688ECD-BF53-454D-B148-6B63FDAA6422}"/>
                </a:ext>
              </a:extLst>
            </p:cNvPr>
            <p:cNvSpPr>
              <a:spLocks noChangeAspect="1"/>
            </p:cNvSpPr>
            <p:nvPr/>
          </p:nvSpPr>
          <p:spPr bwMode="gray">
            <a:xfrm>
              <a:off x="3952" y="1989"/>
              <a:ext cx="123" cy="110"/>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7" name="Freeform 109">
              <a:extLst>
                <a:ext uri="{FF2B5EF4-FFF2-40B4-BE49-F238E27FC236}">
                  <a16:creationId xmlns:a16="http://schemas.microsoft.com/office/drawing/2014/main" id="{5AF20CC2-C2F1-4BEB-B29D-9DD7969A5B8A}"/>
                </a:ext>
              </a:extLst>
            </p:cNvPr>
            <p:cNvSpPr>
              <a:spLocks noChangeAspect="1"/>
            </p:cNvSpPr>
            <p:nvPr/>
          </p:nvSpPr>
          <p:spPr bwMode="gray">
            <a:xfrm>
              <a:off x="3966" y="2088"/>
              <a:ext cx="28" cy="21"/>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8" name="Freeform 110">
              <a:extLst>
                <a:ext uri="{FF2B5EF4-FFF2-40B4-BE49-F238E27FC236}">
                  <a16:creationId xmlns:a16="http://schemas.microsoft.com/office/drawing/2014/main" id="{F9D46D2B-96CF-400A-A2D6-B5BAC590145F}"/>
                </a:ext>
              </a:extLst>
            </p:cNvPr>
            <p:cNvSpPr>
              <a:spLocks noChangeAspect="1"/>
            </p:cNvSpPr>
            <p:nvPr/>
          </p:nvSpPr>
          <p:spPr bwMode="gray">
            <a:xfrm>
              <a:off x="3938" y="2093"/>
              <a:ext cx="26" cy="38"/>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54" name="Freeform 112">
            <a:extLst>
              <a:ext uri="{FF2B5EF4-FFF2-40B4-BE49-F238E27FC236}">
                <a16:creationId xmlns:a16="http://schemas.microsoft.com/office/drawing/2014/main" id="{89D1235B-E8CD-4413-A09F-63C2364FD906}"/>
              </a:ext>
            </a:extLst>
          </p:cNvPr>
          <p:cNvSpPr>
            <a:spLocks noChangeAspect="1"/>
          </p:cNvSpPr>
          <p:nvPr/>
        </p:nvSpPr>
        <p:spPr bwMode="gray">
          <a:xfrm>
            <a:off x="6884993" y="3321241"/>
            <a:ext cx="786895" cy="347614"/>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58" name="Group 657">
            <a:extLst>
              <a:ext uri="{FF2B5EF4-FFF2-40B4-BE49-F238E27FC236}">
                <a16:creationId xmlns:a16="http://schemas.microsoft.com/office/drawing/2014/main" id="{C7A47903-06E3-4F31-BF6F-1EFFBB811353}"/>
              </a:ext>
            </a:extLst>
          </p:cNvPr>
          <p:cNvGrpSpPr>
            <a:grpSpLocks noChangeAspect="1"/>
          </p:cNvGrpSpPr>
          <p:nvPr/>
        </p:nvGrpSpPr>
        <p:grpSpPr bwMode="gray">
          <a:xfrm>
            <a:off x="5186479" y="1568862"/>
            <a:ext cx="4247419" cy="2110216"/>
            <a:chOff x="2730" y="960"/>
            <a:chExt cx="1873" cy="1032"/>
          </a:xfrm>
          <a:solidFill>
            <a:schemeClr val="bg1">
              <a:lumMod val="85000"/>
            </a:schemeClr>
          </a:solidFill>
        </p:grpSpPr>
        <p:grpSp>
          <p:nvGrpSpPr>
            <p:cNvPr id="858" name="Group 857">
              <a:extLst>
                <a:ext uri="{FF2B5EF4-FFF2-40B4-BE49-F238E27FC236}">
                  <a16:creationId xmlns:a16="http://schemas.microsoft.com/office/drawing/2014/main" id="{BF6478E7-D5BD-43BB-B0FB-6EF010CF9A97}"/>
                </a:ext>
              </a:extLst>
            </p:cNvPr>
            <p:cNvGrpSpPr>
              <a:grpSpLocks noChangeAspect="1"/>
            </p:cNvGrpSpPr>
            <p:nvPr/>
          </p:nvGrpSpPr>
          <p:grpSpPr bwMode="gray">
            <a:xfrm>
              <a:off x="3044" y="960"/>
              <a:ext cx="1473" cy="481"/>
              <a:chOff x="3044" y="960"/>
              <a:chExt cx="1473" cy="481"/>
            </a:xfrm>
            <a:grpFill/>
          </p:grpSpPr>
          <p:sp>
            <p:nvSpPr>
              <p:cNvPr id="862" name="Freeform 118">
                <a:extLst>
                  <a:ext uri="{FF2B5EF4-FFF2-40B4-BE49-F238E27FC236}">
                    <a16:creationId xmlns:a16="http://schemas.microsoft.com/office/drawing/2014/main" id="{1EAB0EF5-2958-48C1-8B52-F71C7669242C}"/>
                  </a:ext>
                </a:extLst>
              </p:cNvPr>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3" name="Freeform 119">
                <a:extLst>
                  <a:ext uri="{FF2B5EF4-FFF2-40B4-BE49-F238E27FC236}">
                    <a16:creationId xmlns:a16="http://schemas.microsoft.com/office/drawing/2014/main" id="{0337DEA6-FA9E-492C-ADD2-FBFE1AE3539C}"/>
                  </a:ext>
                </a:extLst>
              </p:cNvPr>
              <p:cNvSpPr>
                <a:spLocks noChangeAspect="1"/>
              </p:cNvSpPr>
              <p:nvPr/>
            </p:nvSpPr>
            <p:spPr bwMode="gray">
              <a:xfrm>
                <a:off x="3605" y="995"/>
                <a:ext cx="67" cy="84"/>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4" name="Freeform 120">
                <a:extLst>
                  <a:ext uri="{FF2B5EF4-FFF2-40B4-BE49-F238E27FC236}">
                    <a16:creationId xmlns:a16="http://schemas.microsoft.com/office/drawing/2014/main" id="{5DE905F9-BCCC-47D0-A4DF-7B6EC2F2664A}"/>
                  </a:ext>
                </a:extLst>
              </p:cNvPr>
              <p:cNvSpPr>
                <a:spLocks noChangeAspect="1"/>
              </p:cNvSpPr>
              <p:nvPr/>
            </p:nvSpPr>
            <p:spPr bwMode="gray">
              <a:xfrm>
                <a:off x="4015" y="1163"/>
                <a:ext cx="73" cy="67"/>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5" name="Freeform 121">
                <a:extLst>
                  <a:ext uri="{FF2B5EF4-FFF2-40B4-BE49-F238E27FC236}">
                    <a16:creationId xmlns:a16="http://schemas.microsoft.com/office/drawing/2014/main" id="{D096A3C1-D855-46ED-9308-A9DA922FF6FD}"/>
                  </a:ext>
                </a:extLst>
              </p:cNvPr>
              <p:cNvSpPr>
                <a:spLocks noChangeAspect="1"/>
              </p:cNvSpPr>
              <p:nvPr/>
            </p:nvSpPr>
            <p:spPr bwMode="gray">
              <a:xfrm>
                <a:off x="4066" y="1166"/>
                <a:ext cx="44" cy="50"/>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6" name="Freeform 122">
                <a:extLst>
                  <a:ext uri="{FF2B5EF4-FFF2-40B4-BE49-F238E27FC236}">
                    <a16:creationId xmlns:a16="http://schemas.microsoft.com/office/drawing/2014/main" id="{48C71C57-C386-4507-92F1-C4813F2DC2FB}"/>
                  </a:ext>
                </a:extLst>
              </p:cNvPr>
              <p:cNvSpPr>
                <a:spLocks noChangeAspect="1"/>
              </p:cNvSpPr>
              <p:nvPr/>
            </p:nvSpPr>
            <p:spPr bwMode="gray">
              <a:xfrm>
                <a:off x="4119" y="1193"/>
                <a:ext cx="54" cy="36"/>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7" name="Freeform 123">
                <a:extLst>
                  <a:ext uri="{FF2B5EF4-FFF2-40B4-BE49-F238E27FC236}">
                    <a16:creationId xmlns:a16="http://schemas.microsoft.com/office/drawing/2014/main" id="{1B0D529F-E2B3-4E9F-8EB4-E281025890AE}"/>
                  </a:ext>
                </a:extLst>
              </p:cNvPr>
              <p:cNvSpPr>
                <a:spLocks noChangeAspect="1"/>
              </p:cNvSpPr>
              <p:nvPr/>
            </p:nvSpPr>
            <p:spPr bwMode="gray">
              <a:xfrm>
                <a:off x="4047" y="1261"/>
                <a:ext cx="43" cy="27"/>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8" name="Freeform 124">
                <a:extLst>
                  <a:ext uri="{FF2B5EF4-FFF2-40B4-BE49-F238E27FC236}">
                    <a16:creationId xmlns:a16="http://schemas.microsoft.com/office/drawing/2014/main" id="{57F40A85-A8E6-4127-9E68-F6E47CC31BCC}"/>
                  </a:ext>
                </a:extLst>
              </p:cNvPr>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9" name="Freeform 125">
                <a:extLst>
                  <a:ext uri="{FF2B5EF4-FFF2-40B4-BE49-F238E27FC236}">
                    <a16:creationId xmlns:a16="http://schemas.microsoft.com/office/drawing/2014/main" id="{A0620CF0-B354-424B-B148-193332DBABA5}"/>
                  </a:ext>
                </a:extLst>
              </p:cNvPr>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0" name="Freeform 126">
                <a:extLst>
                  <a:ext uri="{FF2B5EF4-FFF2-40B4-BE49-F238E27FC236}">
                    <a16:creationId xmlns:a16="http://schemas.microsoft.com/office/drawing/2014/main" id="{6538557A-DF88-43DE-9B4C-15EDD80A3FF2}"/>
                  </a:ext>
                </a:extLst>
              </p:cNvPr>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1" name="Freeform 127">
                <a:extLst>
                  <a:ext uri="{FF2B5EF4-FFF2-40B4-BE49-F238E27FC236}">
                    <a16:creationId xmlns:a16="http://schemas.microsoft.com/office/drawing/2014/main" id="{21705BE4-F795-47F9-937E-3CC67DC0AE3F}"/>
                  </a:ext>
                </a:extLst>
              </p:cNvPr>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2" name="Freeform 128">
                <a:extLst>
                  <a:ext uri="{FF2B5EF4-FFF2-40B4-BE49-F238E27FC236}">
                    <a16:creationId xmlns:a16="http://schemas.microsoft.com/office/drawing/2014/main" id="{B707B6E1-9B48-481C-AA76-0B0DC9462C74}"/>
                  </a:ext>
                </a:extLst>
              </p:cNvPr>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3" name="Freeform 129">
                <a:extLst>
                  <a:ext uri="{FF2B5EF4-FFF2-40B4-BE49-F238E27FC236}">
                    <a16:creationId xmlns:a16="http://schemas.microsoft.com/office/drawing/2014/main" id="{24AC5D7A-ECFF-45AD-A95B-9D74D15278A7}"/>
                  </a:ext>
                </a:extLst>
              </p:cNvPr>
              <p:cNvSpPr>
                <a:spLocks noChangeAspect="1"/>
              </p:cNvSpPr>
              <p:nvPr/>
            </p:nvSpPr>
            <p:spPr bwMode="gray">
              <a:xfrm>
                <a:off x="3534" y="960"/>
                <a:ext cx="81" cy="75"/>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4" name="Freeform 130">
                <a:extLst>
                  <a:ext uri="{FF2B5EF4-FFF2-40B4-BE49-F238E27FC236}">
                    <a16:creationId xmlns:a16="http://schemas.microsoft.com/office/drawing/2014/main" id="{99FF4BDA-F453-453F-B3D1-EE99BA38E913}"/>
                  </a:ext>
                </a:extLst>
              </p:cNvPr>
              <p:cNvSpPr>
                <a:spLocks noChangeAspect="1"/>
              </p:cNvSpPr>
              <p:nvPr/>
            </p:nvSpPr>
            <p:spPr bwMode="gray">
              <a:xfrm>
                <a:off x="4473" y="1348"/>
                <a:ext cx="44" cy="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59" name="Freeform 131">
              <a:extLst>
                <a:ext uri="{FF2B5EF4-FFF2-40B4-BE49-F238E27FC236}">
                  <a16:creationId xmlns:a16="http://schemas.microsoft.com/office/drawing/2014/main" id="{41E671C8-2879-492D-8903-78DEA1FEEAAE}"/>
                </a:ext>
              </a:extLst>
            </p:cNvPr>
            <p:cNvSpPr>
              <a:spLocks noChangeAspect="1"/>
            </p:cNvSpPr>
            <p:nvPr/>
          </p:nvSpPr>
          <p:spPr bwMode="gray">
            <a:xfrm>
              <a:off x="4071" y="1777"/>
              <a:ext cx="34" cy="144"/>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0" name="Freeform 132">
              <a:extLst>
                <a:ext uri="{FF2B5EF4-FFF2-40B4-BE49-F238E27FC236}">
                  <a16:creationId xmlns:a16="http://schemas.microsoft.com/office/drawing/2014/main" id="{81DC5F81-5ECB-438C-AF48-A47F85D8E929}"/>
                </a:ext>
              </a:extLst>
            </p:cNvPr>
            <p:cNvSpPr>
              <a:spLocks noChangeAspect="1"/>
            </p:cNvSpPr>
            <p:nvPr/>
          </p:nvSpPr>
          <p:spPr bwMode="gray">
            <a:xfrm>
              <a:off x="2817" y="1091"/>
              <a:ext cx="1786" cy="901"/>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1" name="Freeform 133">
              <a:extLst>
                <a:ext uri="{FF2B5EF4-FFF2-40B4-BE49-F238E27FC236}">
                  <a16:creationId xmlns:a16="http://schemas.microsoft.com/office/drawing/2014/main" id="{4C065D1C-E7A6-4671-841E-A950463F754C}"/>
                </a:ext>
              </a:extLst>
            </p:cNvPr>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29" name="Freeform 136">
            <a:extLst>
              <a:ext uri="{FF2B5EF4-FFF2-40B4-BE49-F238E27FC236}">
                <a16:creationId xmlns:a16="http://schemas.microsoft.com/office/drawing/2014/main" id="{DCDB27F6-483B-4EFA-8E25-9195C80882C7}"/>
              </a:ext>
            </a:extLst>
          </p:cNvPr>
          <p:cNvSpPr>
            <a:spLocks noChangeAspect="1"/>
          </p:cNvSpPr>
          <p:nvPr/>
        </p:nvSpPr>
        <p:spPr bwMode="gray">
          <a:xfrm>
            <a:off x="5569664" y="3863120"/>
            <a:ext cx="43086" cy="47030"/>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0" name="Group 829">
            <a:extLst>
              <a:ext uri="{FF2B5EF4-FFF2-40B4-BE49-F238E27FC236}">
                <a16:creationId xmlns:a16="http://schemas.microsoft.com/office/drawing/2014/main" id="{C523C776-DE77-4BB4-B1DE-E4A919B6EBA2}"/>
              </a:ext>
            </a:extLst>
          </p:cNvPr>
          <p:cNvGrpSpPr>
            <a:grpSpLocks noChangeAspect="1"/>
          </p:cNvGrpSpPr>
          <p:nvPr/>
        </p:nvGrpSpPr>
        <p:grpSpPr bwMode="gray">
          <a:xfrm>
            <a:off x="5546987" y="3901971"/>
            <a:ext cx="38551" cy="104284"/>
            <a:chOff x="2889" y="2101"/>
            <a:chExt cx="17" cy="51"/>
          </a:xfrm>
          <a:solidFill>
            <a:schemeClr val="bg1">
              <a:lumMod val="85000"/>
            </a:schemeClr>
          </a:solidFill>
        </p:grpSpPr>
        <p:sp>
          <p:nvSpPr>
            <p:cNvPr id="855" name="Freeform 138">
              <a:extLst>
                <a:ext uri="{FF2B5EF4-FFF2-40B4-BE49-F238E27FC236}">
                  <a16:creationId xmlns:a16="http://schemas.microsoft.com/office/drawing/2014/main" id="{3AD62760-45B2-4BCB-82A8-9661D228899A}"/>
                </a:ext>
              </a:extLst>
            </p:cNvPr>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6" name="Freeform 139">
              <a:extLst>
                <a:ext uri="{FF2B5EF4-FFF2-40B4-BE49-F238E27FC236}">
                  <a16:creationId xmlns:a16="http://schemas.microsoft.com/office/drawing/2014/main" id="{672ACBC4-9BE1-4642-8B30-720BDE4BC560}"/>
                </a:ext>
              </a:extLst>
            </p:cNvPr>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7" name="Freeform 140">
              <a:extLst>
                <a:ext uri="{FF2B5EF4-FFF2-40B4-BE49-F238E27FC236}">
                  <a16:creationId xmlns:a16="http://schemas.microsoft.com/office/drawing/2014/main" id="{6C2333C1-24C3-4DF2-ABB8-52B17713B58A}"/>
                </a:ext>
              </a:extLst>
            </p:cNvPr>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1" name="Freeform 141">
            <a:extLst>
              <a:ext uri="{FF2B5EF4-FFF2-40B4-BE49-F238E27FC236}">
                <a16:creationId xmlns:a16="http://schemas.microsoft.com/office/drawing/2014/main" id="{C5A34235-AEF7-4EAE-9D7D-91E41F174FBC}"/>
              </a:ext>
            </a:extLst>
          </p:cNvPr>
          <p:cNvSpPr>
            <a:spLocks noChangeAspect="1"/>
          </p:cNvSpPr>
          <p:nvPr/>
        </p:nvSpPr>
        <p:spPr bwMode="gray">
          <a:xfrm>
            <a:off x="5859928" y="3987852"/>
            <a:ext cx="43086" cy="3885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2" name="Group 831">
            <a:extLst>
              <a:ext uri="{FF2B5EF4-FFF2-40B4-BE49-F238E27FC236}">
                <a16:creationId xmlns:a16="http://schemas.microsoft.com/office/drawing/2014/main" id="{8629CC1A-F26F-436E-839C-C62A29CE7E88}"/>
              </a:ext>
            </a:extLst>
          </p:cNvPr>
          <p:cNvGrpSpPr>
            <a:grpSpLocks noChangeAspect="1"/>
          </p:cNvGrpSpPr>
          <p:nvPr/>
        </p:nvGrpSpPr>
        <p:grpSpPr bwMode="gray">
          <a:xfrm>
            <a:off x="5562861" y="3932643"/>
            <a:ext cx="523836" cy="386465"/>
            <a:chOff x="2896" y="2116"/>
            <a:chExt cx="231" cy="189"/>
          </a:xfrm>
          <a:solidFill>
            <a:schemeClr val="bg1">
              <a:lumMod val="85000"/>
            </a:schemeClr>
          </a:solidFill>
        </p:grpSpPr>
        <p:sp>
          <p:nvSpPr>
            <p:cNvPr id="853" name="Freeform 143">
              <a:extLst>
                <a:ext uri="{FF2B5EF4-FFF2-40B4-BE49-F238E27FC236}">
                  <a16:creationId xmlns:a16="http://schemas.microsoft.com/office/drawing/2014/main" id="{9979812E-9B61-41A6-9BF9-4BED04A3434A}"/>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4" name="Freeform 144">
              <a:extLst>
                <a:ext uri="{FF2B5EF4-FFF2-40B4-BE49-F238E27FC236}">
                  <a16:creationId xmlns:a16="http://schemas.microsoft.com/office/drawing/2014/main" id="{3ADE0D28-D178-4686-8042-0626DCCCA41D}"/>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33" name="Group 832">
            <a:extLst>
              <a:ext uri="{FF2B5EF4-FFF2-40B4-BE49-F238E27FC236}">
                <a16:creationId xmlns:a16="http://schemas.microsoft.com/office/drawing/2014/main" id="{905D961A-3E22-4A8F-A40A-72B900F06FB9}"/>
              </a:ext>
            </a:extLst>
          </p:cNvPr>
          <p:cNvGrpSpPr>
            <a:grpSpLocks noChangeAspect="1"/>
          </p:cNvGrpSpPr>
          <p:nvPr/>
        </p:nvGrpSpPr>
        <p:grpSpPr bwMode="gray">
          <a:xfrm>
            <a:off x="5762417" y="4259809"/>
            <a:ext cx="258517" cy="147225"/>
            <a:chOff x="2984" y="2276"/>
            <a:chExt cx="114" cy="72"/>
          </a:xfrm>
          <a:solidFill>
            <a:schemeClr val="bg1">
              <a:lumMod val="85000"/>
            </a:schemeClr>
          </a:solidFill>
        </p:grpSpPr>
        <p:sp>
          <p:nvSpPr>
            <p:cNvPr id="851" name="Freeform 146">
              <a:extLst>
                <a:ext uri="{FF2B5EF4-FFF2-40B4-BE49-F238E27FC236}">
                  <a16:creationId xmlns:a16="http://schemas.microsoft.com/office/drawing/2014/main" id="{4442F9F7-5F82-4A5C-A9D6-5A69B56571EE}"/>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2" name="Freeform 147">
              <a:extLst>
                <a:ext uri="{FF2B5EF4-FFF2-40B4-BE49-F238E27FC236}">
                  <a16:creationId xmlns:a16="http://schemas.microsoft.com/office/drawing/2014/main" id="{0ED9380D-EAF9-4166-97E2-DC1307059754}"/>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35" name="Group 834">
            <a:extLst>
              <a:ext uri="{FF2B5EF4-FFF2-40B4-BE49-F238E27FC236}">
                <a16:creationId xmlns:a16="http://schemas.microsoft.com/office/drawing/2014/main" id="{EED7DED1-D8C3-4F5E-8729-28E2176A3C9A}"/>
              </a:ext>
            </a:extLst>
          </p:cNvPr>
          <p:cNvGrpSpPr>
            <a:grpSpLocks noChangeAspect="1"/>
          </p:cNvGrpSpPr>
          <p:nvPr/>
        </p:nvGrpSpPr>
        <p:grpSpPr bwMode="gray">
          <a:xfrm>
            <a:off x="5993722" y="4081913"/>
            <a:ext cx="192754" cy="233106"/>
            <a:chOff x="3086" y="2189"/>
            <a:chExt cx="85" cy="114"/>
          </a:xfrm>
          <a:solidFill>
            <a:schemeClr val="bg1">
              <a:lumMod val="85000"/>
            </a:schemeClr>
          </a:solidFill>
        </p:grpSpPr>
        <p:sp>
          <p:nvSpPr>
            <p:cNvPr id="849" name="Freeform 150">
              <a:extLst>
                <a:ext uri="{FF2B5EF4-FFF2-40B4-BE49-F238E27FC236}">
                  <a16:creationId xmlns:a16="http://schemas.microsoft.com/office/drawing/2014/main" id="{F7516217-138E-4C6D-B53C-DB672C68E3BA}"/>
                </a:ext>
              </a:extLst>
            </p:cNvPr>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0" name="Freeform 151">
              <a:extLst>
                <a:ext uri="{FF2B5EF4-FFF2-40B4-BE49-F238E27FC236}">
                  <a16:creationId xmlns:a16="http://schemas.microsoft.com/office/drawing/2014/main" id="{FDF205AA-3607-4CFB-90FA-3F49D6B6F480}"/>
                </a:ext>
              </a:extLst>
            </p:cNvPr>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6" name="Freeform 152">
            <a:extLst>
              <a:ext uri="{FF2B5EF4-FFF2-40B4-BE49-F238E27FC236}">
                <a16:creationId xmlns:a16="http://schemas.microsoft.com/office/drawing/2014/main" id="{B313B5A7-3759-4948-81FE-78D8B276FE56}"/>
              </a:ext>
            </a:extLst>
          </p:cNvPr>
          <p:cNvSpPr>
            <a:spLocks noChangeAspect="1"/>
          </p:cNvSpPr>
          <p:nvPr/>
        </p:nvSpPr>
        <p:spPr bwMode="gray">
          <a:xfrm>
            <a:off x="5955171" y="4083957"/>
            <a:ext cx="2268" cy="6134"/>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7" name="Group 836">
            <a:extLst>
              <a:ext uri="{FF2B5EF4-FFF2-40B4-BE49-F238E27FC236}">
                <a16:creationId xmlns:a16="http://schemas.microsoft.com/office/drawing/2014/main" id="{B9801A9E-2204-414E-80D7-077DFA102E21}"/>
              </a:ext>
            </a:extLst>
          </p:cNvPr>
          <p:cNvGrpSpPr>
            <a:grpSpLocks noChangeAspect="1"/>
          </p:cNvGrpSpPr>
          <p:nvPr/>
        </p:nvGrpSpPr>
        <p:grpSpPr bwMode="gray">
          <a:xfrm>
            <a:off x="5798700" y="3719985"/>
            <a:ext cx="476215" cy="392599"/>
            <a:chOff x="3000" y="2012"/>
            <a:chExt cx="210" cy="192"/>
          </a:xfrm>
          <a:solidFill>
            <a:schemeClr val="bg1">
              <a:lumMod val="85000"/>
            </a:schemeClr>
          </a:solidFill>
        </p:grpSpPr>
        <p:sp>
          <p:nvSpPr>
            <p:cNvPr id="847" name="Freeform 154">
              <a:extLst>
                <a:ext uri="{FF2B5EF4-FFF2-40B4-BE49-F238E27FC236}">
                  <a16:creationId xmlns:a16="http://schemas.microsoft.com/office/drawing/2014/main" id="{E4AA3FC2-06DC-4A35-9199-7D813C32FDA3}"/>
                </a:ext>
              </a:extLst>
            </p:cNvPr>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8" name="Freeform 155">
              <a:extLst>
                <a:ext uri="{FF2B5EF4-FFF2-40B4-BE49-F238E27FC236}">
                  <a16:creationId xmlns:a16="http://schemas.microsoft.com/office/drawing/2014/main" id="{84329F11-7170-4C6C-8BDA-0F38FA347C54}"/>
                </a:ext>
              </a:extLst>
            </p:cNvPr>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8" name="Freeform 156">
            <a:extLst>
              <a:ext uri="{FF2B5EF4-FFF2-40B4-BE49-F238E27FC236}">
                <a16:creationId xmlns:a16="http://schemas.microsoft.com/office/drawing/2014/main" id="{4A79328D-DB95-4D8B-8240-19B9F19C772A}"/>
              </a:ext>
            </a:extLst>
          </p:cNvPr>
          <p:cNvSpPr>
            <a:spLocks noChangeAspect="1"/>
          </p:cNvSpPr>
          <p:nvPr/>
        </p:nvSpPr>
        <p:spPr bwMode="gray">
          <a:xfrm>
            <a:off x="5664907" y="3787463"/>
            <a:ext cx="242643" cy="222882"/>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39" name="Freeform 157">
            <a:extLst>
              <a:ext uri="{FF2B5EF4-FFF2-40B4-BE49-F238E27FC236}">
                <a16:creationId xmlns:a16="http://schemas.microsoft.com/office/drawing/2014/main" id="{D8927E6E-FD3E-437C-86BD-E37A5E084B63}"/>
              </a:ext>
            </a:extLst>
          </p:cNvPr>
          <p:cNvSpPr>
            <a:spLocks noChangeAspect="1"/>
          </p:cNvSpPr>
          <p:nvPr/>
        </p:nvSpPr>
        <p:spPr bwMode="gray">
          <a:xfrm>
            <a:off x="5961974" y="4086002"/>
            <a:ext cx="20409" cy="40896"/>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8" name="Group 27">
            <a:extLst>
              <a:ext uri="{FF2B5EF4-FFF2-40B4-BE49-F238E27FC236}">
                <a16:creationId xmlns:a16="http://schemas.microsoft.com/office/drawing/2014/main" id="{A6F07DF8-C6A7-97CA-B8B6-A29725C8E12D}"/>
              </a:ext>
            </a:extLst>
          </p:cNvPr>
          <p:cNvGrpSpPr/>
          <p:nvPr/>
        </p:nvGrpSpPr>
        <p:grpSpPr>
          <a:xfrm>
            <a:off x="5968777" y="4088047"/>
            <a:ext cx="131526" cy="87926"/>
            <a:chOff x="5968777" y="4088047"/>
            <a:chExt cx="131526" cy="87926"/>
          </a:xfrm>
        </p:grpSpPr>
        <p:sp>
          <p:nvSpPr>
            <p:cNvPr id="834" name="Freeform 148">
              <a:extLst>
                <a:ext uri="{FF2B5EF4-FFF2-40B4-BE49-F238E27FC236}">
                  <a16:creationId xmlns:a16="http://schemas.microsoft.com/office/drawing/2014/main" id="{37C7F717-AB98-4B67-A7A0-8572EB6EDD30}"/>
                </a:ext>
              </a:extLst>
            </p:cNvPr>
            <p:cNvSpPr>
              <a:spLocks noChangeAspect="1"/>
            </p:cNvSpPr>
            <p:nvPr/>
          </p:nvSpPr>
          <p:spPr bwMode="gray">
            <a:xfrm>
              <a:off x="6034540" y="4133032"/>
              <a:ext cx="6803" cy="4090"/>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0" name="Freeform 158">
              <a:extLst>
                <a:ext uri="{FF2B5EF4-FFF2-40B4-BE49-F238E27FC236}">
                  <a16:creationId xmlns:a16="http://schemas.microsoft.com/office/drawing/2014/main" id="{976B63E2-B962-4BAB-9B79-938890D37CFC}"/>
                </a:ext>
              </a:extLst>
            </p:cNvPr>
            <p:cNvSpPr>
              <a:spLocks noChangeAspect="1"/>
            </p:cNvSpPr>
            <p:nvPr/>
          </p:nvSpPr>
          <p:spPr bwMode="gray">
            <a:xfrm>
              <a:off x="5968777" y="4088047"/>
              <a:ext cx="131526" cy="87926"/>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41" name="Group 840">
            <a:extLst>
              <a:ext uri="{FF2B5EF4-FFF2-40B4-BE49-F238E27FC236}">
                <a16:creationId xmlns:a16="http://schemas.microsoft.com/office/drawing/2014/main" id="{3507D7D1-8800-4D3A-82E6-8B5119610BD8}"/>
              </a:ext>
            </a:extLst>
          </p:cNvPr>
          <p:cNvGrpSpPr>
            <a:grpSpLocks noChangeAspect="1"/>
          </p:cNvGrpSpPr>
          <p:nvPr/>
        </p:nvGrpSpPr>
        <p:grpSpPr bwMode="gray">
          <a:xfrm>
            <a:off x="5349698" y="3652507"/>
            <a:ext cx="464876" cy="179941"/>
            <a:chOff x="2802" y="1979"/>
            <a:chExt cx="205" cy="88"/>
          </a:xfrm>
          <a:solidFill>
            <a:schemeClr val="bg1">
              <a:lumMod val="85000"/>
            </a:schemeClr>
          </a:solidFill>
        </p:grpSpPr>
        <p:sp>
          <p:nvSpPr>
            <p:cNvPr id="845" name="Freeform 160">
              <a:extLst>
                <a:ext uri="{FF2B5EF4-FFF2-40B4-BE49-F238E27FC236}">
                  <a16:creationId xmlns:a16="http://schemas.microsoft.com/office/drawing/2014/main" id="{C5072B31-0104-4C54-B36A-803C78436086}"/>
                </a:ext>
              </a:extLst>
            </p:cNvPr>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6" name="Freeform 161">
              <a:extLst>
                <a:ext uri="{FF2B5EF4-FFF2-40B4-BE49-F238E27FC236}">
                  <a16:creationId xmlns:a16="http://schemas.microsoft.com/office/drawing/2014/main" id="{BE6A6084-94FB-4113-9124-E4D3F98DAC3A}"/>
                </a:ext>
              </a:extLst>
            </p:cNvPr>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42" name="Freeform 162">
            <a:extLst>
              <a:ext uri="{FF2B5EF4-FFF2-40B4-BE49-F238E27FC236}">
                <a16:creationId xmlns:a16="http://schemas.microsoft.com/office/drawing/2014/main" id="{76C8F48A-5503-401E-98C0-A26ED988133D}"/>
              </a:ext>
            </a:extLst>
          </p:cNvPr>
          <p:cNvSpPr>
            <a:spLocks noChangeAspect="1"/>
          </p:cNvSpPr>
          <p:nvPr/>
        </p:nvSpPr>
        <p:spPr bwMode="gray">
          <a:xfrm>
            <a:off x="5567396" y="3899926"/>
            <a:ext cx="106581" cy="110419"/>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3" name="Freeform 163">
            <a:extLst>
              <a:ext uri="{FF2B5EF4-FFF2-40B4-BE49-F238E27FC236}">
                <a16:creationId xmlns:a16="http://schemas.microsoft.com/office/drawing/2014/main" id="{55E2F8DF-42DD-4490-938F-69E8295116BC}"/>
              </a:ext>
            </a:extLst>
          </p:cNvPr>
          <p:cNvSpPr>
            <a:spLocks noChangeAspect="1"/>
          </p:cNvSpPr>
          <p:nvPr/>
        </p:nvSpPr>
        <p:spPr bwMode="gray">
          <a:xfrm>
            <a:off x="5583270" y="3791553"/>
            <a:ext cx="174612" cy="137001"/>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4" name="Freeform 164">
            <a:extLst>
              <a:ext uri="{FF2B5EF4-FFF2-40B4-BE49-F238E27FC236}">
                <a16:creationId xmlns:a16="http://schemas.microsoft.com/office/drawing/2014/main" id="{CD64E3C7-74A1-4794-8562-40A3CE92CFAF}"/>
              </a:ext>
            </a:extLst>
          </p:cNvPr>
          <p:cNvSpPr>
            <a:spLocks noChangeAspect="1"/>
          </p:cNvSpPr>
          <p:nvPr/>
        </p:nvSpPr>
        <p:spPr bwMode="gray">
          <a:xfrm>
            <a:off x="5506169" y="3836538"/>
            <a:ext cx="56692" cy="30672"/>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0" name="Freeform 165">
            <a:extLst>
              <a:ext uri="{FF2B5EF4-FFF2-40B4-BE49-F238E27FC236}">
                <a16:creationId xmlns:a16="http://schemas.microsoft.com/office/drawing/2014/main" id="{0755A372-C201-487E-82E2-C31F6ED45F7C}"/>
              </a:ext>
            </a:extLst>
          </p:cNvPr>
          <p:cNvSpPr>
            <a:spLocks noChangeAspect="1"/>
          </p:cNvSpPr>
          <p:nvPr/>
        </p:nvSpPr>
        <p:spPr bwMode="gray">
          <a:xfrm>
            <a:off x="5780616" y="3674989"/>
            <a:ext cx="77102" cy="71568"/>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1" name="Freeform 166">
            <a:extLst>
              <a:ext uri="{FF2B5EF4-FFF2-40B4-BE49-F238E27FC236}">
                <a16:creationId xmlns:a16="http://schemas.microsoft.com/office/drawing/2014/main" id="{1697C735-DB87-43DD-A321-52BDC5426CC7}"/>
              </a:ext>
            </a:extLst>
          </p:cNvPr>
          <p:cNvSpPr>
            <a:spLocks noChangeAspect="1"/>
          </p:cNvSpPr>
          <p:nvPr/>
        </p:nvSpPr>
        <p:spPr bwMode="gray">
          <a:xfrm>
            <a:off x="5857718" y="3196510"/>
            <a:ext cx="1011398" cy="486658"/>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2" name="Freeform 167">
            <a:extLst>
              <a:ext uri="{FF2B5EF4-FFF2-40B4-BE49-F238E27FC236}">
                <a16:creationId xmlns:a16="http://schemas.microsoft.com/office/drawing/2014/main" id="{2B8D8C77-E94C-472F-87E8-B4802DB6D4F5}"/>
              </a:ext>
            </a:extLst>
          </p:cNvPr>
          <p:cNvSpPr>
            <a:spLocks noChangeAspect="1"/>
          </p:cNvSpPr>
          <p:nvPr/>
        </p:nvSpPr>
        <p:spPr bwMode="gray">
          <a:xfrm>
            <a:off x="5692175" y="3607510"/>
            <a:ext cx="167811" cy="73613"/>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3" name="Freeform 168">
            <a:extLst>
              <a:ext uri="{FF2B5EF4-FFF2-40B4-BE49-F238E27FC236}">
                <a16:creationId xmlns:a16="http://schemas.microsoft.com/office/drawing/2014/main" id="{B7718317-D195-44BB-BA27-AD9C8376B473}"/>
              </a:ext>
            </a:extLst>
          </p:cNvPr>
          <p:cNvSpPr>
            <a:spLocks noChangeAspect="1"/>
          </p:cNvSpPr>
          <p:nvPr/>
        </p:nvSpPr>
        <p:spPr bwMode="gray">
          <a:xfrm>
            <a:off x="6093560" y="3544122"/>
            <a:ext cx="426329" cy="249464"/>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4" name="Freeform 169">
            <a:extLst>
              <a:ext uri="{FF2B5EF4-FFF2-40B4-BE49-F238E27FC236}">
                <a16:creationId xmlns:a16="http://schemas.microsoft.com/office/drawing/2014/main" id="{550C27FE-1149-4E56-9235-1945DA834D4F}"/>
              </a:ext>
            </a:extLst>
          </p:cNvPr>
          <p:cNvSpPr>
            <a:spLocks noChangeAspect="1"/>
          </p:cNvSpPr>
          <p:nvPr/>
        </p:nvSpPr>
        <p:spPr bwMode="gray">
          <a:xfrm>
            <a:off x="6005119" y="3630003"/>
            <a:ext cx="353763" cy="220838"/>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65" name="Group 664">
            <a:extLst>
              <a:ext uri="{FF2B5EF4-FFF2-40B4-BE49-F238E27FC236}">
                <a16:creationId xmlns:a16="http://schemas.microsoft.com/office/drawing/2014/main" id="{F4744005-E1F8-4F9A-B772-47C85522E1F7}"/>
              </a:ext>
            </a:extLst>
          </p:cNvPr>
          <p:cNvGrpSpPr>
            <a:grpSpLocks noChangeAspect="1"/>
          </p:cNvGrpSpPr>
          <p:nvPr/>
        </p:nvGrpSpPr>
        <p:grpSpPr bwMode="gray">
          <a:xfrm>
            <a:off x="5814536" y="3658711"/>
            <a:ext cx="138329" cy="100198"/>
            <a:chOff x="3007" y="1982"/>
            <a:chExt cx="61" cy="49"/>
          </a:xfrm>
          <a:solidFill>
            <a:schemeClr val="bg1">
              <a:lumMod val="85000"/>
            </a:schemeClr>
          </a:solidFill>
        </p:grpSpPr>
        <p:sp>
          <p:nvSpPr>
            <p:cNvPr id="827" name="Freeform 171">
              <a:extLst>
                <a:ext uri="{FF2B5EF4-FFF2-40B4-BE49-F238E27FC236}">
                  <a16:creationId xmlns:a16="http://schemas.microsoft.com/office/drawing/2014/main" id="{FA086FA4-FBE3-43F0-9299-F8F62AB0806E}"/>
                </a:ext>
              </a:extLst>
            </p:cNvPr>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8" name="Freeform 172">
              <a:extLst>
                <a:ext uri="{FF2B5EF4-FFF2-40B4-BE49-F238E27FC236}">
                  <a16:creationId xmlns:a16="http://schemas.microsoft.com/office/drawing/2014/main" id="{AF1DE42B-9F8D-46CC-8650-E3AEC29A0FFB}"/>
                </a:ext>
              </a:extLst>
            </p:cNvPr>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66" name="Freeform 173">
            <a:extLst>
              <a:ext uri="{FF2B5EF4-FFF2-40B4-BE49-F238E27FC236}">
                <a16:creationId xmlns:a16="http://schemas.microsoft.com/office/drawing/2014/main" id="{91E0AA73-8E0F-419D-80FA-354A729059A4}"/>
              </a:ext>
            </a:extLst>
          </p:cNvPr>
          <p:cNvSpPr>
            <a:spLocks noChangeAspect="1"/>
          </p:cNvSpPr>
          <p:nvPr/>
        </p:nvSpPr>
        <p:spPr bwMode="gray">
          <a:xfrm>
            <a:off x="4091177" y="2679181"/>
            <a:ext cx="272125" cy="167672"/>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3" name="Group 2">
            <a:extLst>
              <a:ext uri="{FF2B5EF4-FFF2-40B4-BE49-F238E27FC236}">
                <a16:creationId xmlns:a16="http://schemas.microsoft.com/office/drawing/2014/main" id="{64B86918-84AF-C7D6-933E-74896F70A22B}"/>
              </a:ext>
            </a:extLst>
          </p:cNvPr>
          <p:cNvGrpSpPr/>
          <p:nvPr/>
        </p:nvGrpSpPr>
        <p:grpSpPr>
          <a:xfrm>
            <a:off x="2870180" y="1422401"/>
            <a:ext cx="1376499" cy="1447705"/>
            <a:chOff x="2870180" y="1422401"/>
            <a:chExt cx="1376499" cy="1447705"/>
          </a:xfrm>
        </p:grpSpPr>
        <p:sp>
          <p:nvSpPr>
            <p:cNvPr id="62" name="Freeform 229">
              <a:extLst>
                <a:ext uri="{FF2B5EF4-FFF2-40B4-BE49-F238E27FC236}">
                  <a16:creationId xmlns:a16="http://schemas.microsoft.com/office/drawing/2014/main" id="{1B43FACA-3D68-4168-9A8C-5554BE06F678}"/>
                </a:ext>
              </a:extLst>
            </p:cNvPr>
            <p:cNvSpPr>
              <a:spLocks noChangeAspect="1"/>
            </p:cNvSpPr>
            <p:nvPr/>
          </p:nvSpPr>
          <p:spPr bwMode="gray">
            <a:xfrm>
              <a:off x="3589044" y="2861927"/>
              <a:ext cx="9071" cy="8179"/>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65" name="Freeform 232">
              <a:extLst>
                <a:ext uri="{FF2B5EF4-FFF2-40B4-BE49-F238E27FC236}">
                  <a16:creationId xmlns:a16="http://schemas.microsoft.com/office/drawing/2014/main" id="{31F1C2E0-4112-44F4-B7F3-05C4B62EB055}"/>
                </a:ext>
              </a:extLst>
            </p:cNvPr>
            <p:cNvSpPr>
              <a:spLocks noChangeAspect="1"/>
            </p:cNvSpPr>
            <p:nvPr/>
          </p:nvSpPr>
          <p:spPr bwMode="gray">
            <a:xfrm>
              <a:off x="3591310" y="2855794"/>
              <a:ext cx="20410" cy="6135"/>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2" name="Group 11">
              <a:extLst>
                <a:ext uri="{FF2B5EF4-FFF2-40B4-BE49-F238E27FC236}">
                  <a16:creationId xmlns:a16="http://schemas.microsoft.com/office/drawing/2014/main" id="{47279B51-30F2-6A7D-849E-5E49C3EEA8AA}"/>
                </a:ext>
              </a:extLst>
            </p:cNvPr>
            <p:cNvGrpSpPr/>
            <p:nvPr/>
          </p:nvGrpSpPr>
          <p:grpSpPr>
            <a:xfrm>
              <a:off x="2870180" y="1422401"/>
              <a:ext cx="1376499" cy="1435437"/>
              <a:chOff x="2870180" y="1422401"/>
              <a:chExt cx="1376499" cy="1435437"/>
            </a:xfrm>
          </p:grpSpPr>
          <p:grpSp>
            <p:nvGrpSpPr>
              <p:cNvPr id="9" name="Group 8">
                <a:extLst>
                  <a:ext uri="{FF2B5EF4-FFF2-40B4-BE49-F238E27FC236}">
                    <a16:creationId xmlns:a16="http://schemas.microsoft.com/office/drawing/2014/main" id="{5C8868CC-9168-C638-4BBF-E2D5B8E12CFB}"/>
                  </a:ext>
                </a:extLst>
              </p:cNvPr>
              <p:cNvGrpSpPr/>
              <p:nvPr/>
            </p:nvGrpSpPr>
            <p:grpSpPr>
              <a:xfrm>
                <a:off x="2870180" y="1422401"/>
                <a:ext cx="1376499" cy="1435437"/>
                <a:chOff x="2870180" y="1422401"/>
                <a:chExt cx="1376499" cy="1435437"/>
              </a:xfrm>
            </p:grpSpPr>
            <p:grpSp>
              <p:nvGrpSpPr>
                <p:cNvPr id="8" name="Group 7">
                  <a:extLst>
                    <a:ext uri="{FF2B5EF4-FFF2-40B4-BE49-F238E27FC236}">
                      <a16:creationId xmlns:a16="http://schemas.microsoft.com/office/drawing/2014/main" id="{2F970CE9-2929-AF64-F55E-794EEF0A5AFE}"/>
                    </a:ext>
                  </a:extLst>
                </p:cNvPr>
                <p:cNvGrpSpPr/>
                <p:nvPr/>
              </p:nvGrpSpPr>
              <p:grpSpPr>
                <a:xfrm>
                  <a:off x="2870180" y="1422401"/>
                  <a:ext cx="1376499" cy="1435437"/>
                  <a:chOff x="2870180" y="1422401"/>
                  <a:chExt cx="1376499" cy="1435437"/>
                </a:xfrm>
              </p:grpSpPr>
              <p:sp>
                <p:nvSpPr>
                  <p:cNvPr id="66" name="Freeform 233">
                    <a:extLst>
                      <a:ext uri="{FF2B5EF4-FFF2-40B4-BE49-F238E27FC236}">
                        <a16:creationId xmlns:a16="http://schemas.microsoft.com/office/drawing/2014/main" id="{3DE4B2B5-B4EE-4454-A9AD-893CEC706141}"/>
                      </a:ext>
                    </a:extLst>
                  </p:cNvPr>
                  <p:cNvSpPr>
                    <a:spLocks noChangeAspect="1"/>
                  </p:cNvSpPr>
                  <p:nvPr/>
                </p:nvSpPr>
                <p:spPr bwMode="gray">
                  <a:xfrm>
                    <a:off x="2870180" y="1422401"/>
                    <a:ext cx="1376499" cy="143543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67" name="Freeform 234">
                    <a:extLst>
                      <a:ext uri="{FF2B5EF4-FFF2-40B4-BE49-F238E27FC236}">
                        <a16:creationId xmlns:a16="http://schemas.microsoft.com/office/drawing/2014/main" id="{23208A7E-96B9-4211-A693-FB8A07F01022}"/>
                      </a:ext>
                    </a:extLst>
                  </p:cNvPr>
                  <p:cNvSpPr>
                    <a:spLocks noChangeAspect="1"/>
                  </p:cNvSpPr>
                  <p:nvPr/>
                </p:nvSpPr>
                <p:spPr bwMode="gray">
                  <a:xfrm>
                    <a:off x="3319186" y="2301658"/>
                    <a:ext cx="74835" cy="67478"/>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68" name="Freeform 235">
                  <a:extLst>
                    <a:ext uri="{FF2B5EF4-FFF2-40B4-BE49-F238E27FC236}">
                      <a16:creationId xmlns:a16="http://schemas.microsoft.com/office/drawing/2014/main" id="{43CE0AA5-71A0-41C3-A284-1F53A3F2F253}"/>
                    </a:ext>
                  </a:extLst>
                </p:cNvPr>
                <p:cNvSpPr>
                  <a:spLocks noChangeAspect="1"/>
                </p:cNvSpPr>
                <p:nvPr/>
              </p:nvSpPr>
              <p:spPr bwMode="gray">
                <a:xfrm>
                  <a:off x="2969958" y="1720938"/>
                  <a:ext cx="74835" cy="24538"/>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668" name="Freeform 230">
                <a:extLst>
                  <a:ext uri="{FF2B5EF4-FFF2-40B4-BE49-F238E27FC236}">
                    <a16:creationId xmlns:a16="http://schemas.microsoft.com/office/drawing/2014/main" id="{CF6811FA-929C-4631-A559-FCEE60F277E0}"/>
                  </a:ext>
                </a:extLst>
              </p:cNvPr>
              <p:cNvSpPr>
                <a:spLocks noChangeAspect="1"/>
              </p:cNvSpPr>
              <p:nvPr/>
            </p:nvSpPr>
            <p:spPr bwMode="gray">
              <a:xfrm>
                <a:off x="4088909" y="2266134"/>
                <a:ext cx="65764" cy="57254"/>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9" name="Freeform 231">
                <a:extLst>
                  <a:ext uri="{FF2B5EF4-FFF2-40B4-BE49-F238E27FC236}">
                    <a16:creationId xmlns:a16="http://schemas.microsoft.com/office/drawing/2014/main" id="{1438F628-7E7D-4D2F-9E59-320FA7E71CB5}"/>
                  </a:ext>
                </a:extLst>
              </p:cNvPr>
              <p:cNvSpPr>
                <a:spLocks noChangeAspect="1"/>
              </p:cNvSpPr>
              <p:nvPr/>
            </p:nvSpPr>
            <p:spPr bwMode="gray">
              <a:xfrm>
                <a:off x="3975744" y="2254556"/>
                <a:ext cx="65764" cy="40896"/>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sp>
        <p:nvSpPr>
          <p:cNvPr id="772" name="Freeform 175">
            <a:extLst>
              <a:ext uri="{FF2B5EF4-FFF2-40B4-BE49-F238E27FC236}">
                <a16:creationId xmlns:a16="http://schemas.microsoft.com/office/drawing/2014/main" id="{D926F122-0557-447E-A3D6-2ED3A5D22E43}"/>
              </a:ext>
            </a:extLst>
          </p:cNvPr>
          <p:cNvSpPr>
            <a:spLocks noChangeAspect="1"/>
          </p:cNvSpPr>
          <p:nvPr/>
        </p:nvSpPr>
        <p:spPr bwMode="gray">
          <a:xfrm>
            <a:off x="4934744" y="3433710"/>
            <a:ext cx="190487" cy="83837"/>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3" name="Freeform 176">
            <a:extLst>
              <a:ext uri="{FF2B5EF4-FFF2-40B4-BE49-F238E27FC236}">
                <a16:creationId xmlns:a16="http://schemas.microsoft.com/office/drawing/2014/main" id="{52B79AC6-BE18-4188-A26E-18EFED4D6575}"/>
              </a:ext>
            </a:extLst>
          </p:cNvPr>
          <p:cNvSpPr>
            <a:spLocks noChangeAspect="1"/>
          </p:cNvSpPr>
          <p:nvPr/>
        </p:nvSpPr>
        <p:spPr bwMode="gray">
          <a:xfrm>
            <a:off x="4735187" y="3638190"/>
            <a:ext cx="11339" cy="6135"/>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4" name="Freeform 177">
            <a:extLst>
              <a:ext uri="{FF2B5EF4-FFF2-40B4-BE49-F238E27FC236}">
                <a16:creationId xmlns:a16="http://schemas.microsoft.com/office/drawing/2014/main" id="{1EA27C1C-3292-4BA9-AE45-D994DF4C05EE}"/>
              </a:ext>
            </a:extLst>
          </p:cNvPr>
          <p:cNvSpPr>
            <a:spLocks noChangeAspect="1"/>
          </p:cNvSpPr>
          <p:nvPr/>
        </p:nvSpPr>
        <p:spPr bwMode="gray">
          <a:xfrm>
            <a:off x="4937013" y="3486876"/>
            <a:ext cx="6804" cy="12269"/>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75" name="Group 774">
            <a:extLst>
              <a:ext uri="{FF2B5EF4-FFF2-40B4-BE49-F238E27FC236}">
                <a16:creationId xmlns:a16="http://schemas.microsoft.com/office/drawing/2014/main" id="{919F54FE-1F4B-47F8-8168-0449A64BB72D}"/>
              </a:ext>
            </a:extLst>
          </p:cNvPr>
          <p:cNvGrpSpPr>
            <a:grpSpLocks noChangeAspect="1"/>
          </p:cNvGrpSpPr>
          <p:nvPr/>
        </p:nvGrpSpPr>
        <p:grpSpPr bwMode="gray">
          <a:xfrm>
            <a:off x="4866713" y="3497113"/>
            <a:ext cx="292534" cy="312854"/>
            <a:chOff x="2589" y="1903"/>
            <a:chExt cx="129" cy="153"/>
          </a:xfrm>
          <a:solidFill>
            <a:schemeClr val="bg1">
              <a:lumMod val="85000"/>
            </a:schemeClr>
          </a:solidFill>
        </p:grpSpPr>
        <p:sp>
          <p:nvSpPr>
            <p:cNvPr id="818" name="Freeform 179">
              <a:extLst>
                <a:ext uri="{FF2B5EF4-FFF2-40B4-BE49-F238E27FC236}">
                  <a16:creationId xmlns:a16="http://schemas.microsoft.com/office/drawing/2014/main" id="{600E7EE3-5D89-4422-B511-21E1B3675B87}"/>
                </a:ext>
              </a:extLst>
            </p:cNvPr>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9" name="Freeform 180">
              <a:extLst>
                <a:ext uri="{FF2B5EF4-FFF2-40B4-BE49-F238E27FC236}">
                  <a16:creationId xmlns:a16="http://schemas.microsoft.com/office/drawing/2014/main" id="{F34AE0A0-86AF-495B-9F8B-830D131DB507}"/>
                </a:ext>
              </a:extLst>
            </p:cNvPr>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0" name="Freeform 181">
              <a:extLst>
                <a:ext uri="{FF2B5EF4-FFF2-40B4-BE49-F238E27FC236}">
                  <a16:creationId xmlns:a16="http://schemas.microsoft.com/office/drawing/2014/main" id="{442CEEB2-79CF-4229-8997-03CB454C7181}"/>
                </a:ext>
              </a:extLst>
            </p:cNvPr>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76" name="Freeform 182">
            <a:extLst>
              <a:ext uri="{FF2B5EF4-FFF2-40B4-BE49-F238E27FC236}">
                <a16:creationId xmlns:a16="http://schemas.microsoft.com/office/drawing/2014/main" id="{170DED45-035C-4050-BC78-C8257B9435D9}"/>
              </a:ext>
            </a:extLst>
          </p:cNvPr>
          <p:cNvSpPr>
            <a:spLocks noChangeAspect="1"/>
          </p:cNvSpPr>
          <p:nvPr/>
        </p:nvSpPr>
        <p:spPr bwMode="gray">
          <a:xfrm>
            <a:off x="4841769" y="3392815"/>
            <a:ext cx="15875" cy="2249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7" name="Freeform 183">
            <a:extLst>
              <a:ext uri="{FF2B5EF4-FFF2-40B4-BE49-F238E27FC236}">
                <a16:creationId xmlns:a16="http://schemas.microsoft.com/office/drawing/2014/main" id="{D933DB3E-1613-4331-9098-0D030AA6C2D5}"/>
              </a:ext>
            </a:extLst>
          </p:cNvPr>
          <p:cNvSpPr>
            <a:spLocks noChangeAspect="1"/>
          </p:cNvSpPr>
          <p:nvPr/>
        </p:nvSpPr>
        <p:spPr bwMode="gray">
          <a:xfrm>
            <a:off x="4848571" y="3478695"/>
            <a:ext cx="111118" cy="57254"/>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8" name="Freeform 184">
            <a:extLst>
              <a:ext uri="{FF2B5EF4-FFF2-40B4-BE49-F238E27FC236}">
                <a16:creationId xmlns:a16="http://schemas.microsoft.com/office/drawing/2014/main" id="{24868B5E-AE0D-490A-B0C1-D277E25244AF}"/>
              </a:ext>
            </a:extLst>
          </p:cNvPr>
          <p:cNvSpPr>
            <a:spLocks noChangeAspect="1"/>
          </p:cNvSpPr>
          <p:nvPr/>
        </p:nvSpPr>
        <p:spPr bwMode="gray">
          <a:xfrm>
            <a:off x="4771469" y="3347829"/>
            <a:ext cx="83906" cy="65433"/>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9" name="Freeform 185">
            <a:extLst>
              <a:ext uri="{FF2B5EF4-FFF2-40B4-BE49-F238E27FC236}">
                <a16:creationId xmlns:a16="http://schemas.microsoft.com/office/drawing/2014/main" id="{4279B8CB-7E4E-44AF-A220-35561532DC5A}"/>
              </a:ext>
            </a:extLst>
          </p:cNvPr>
          <p:cNvSpPr>
            <a:spLocks noChangeAspect="1"/>
          </p:cNvSpPr>
          <p:nvPr/>
        </p:nvSpPr>
        <p:spPr bwMode="gray">
          <a:xfrm>
            <a:off x="4474401" y="3603428"/>
            <a:ext cx="310676" cy="222882"/>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0" name="Freeform 186">
            <a:extLst>
              <a:ext uri="{FF2B5EF4-FFF2-40B4-BE49-F238E27FC236}">
                <a16:creationId xmlns:a16="http://schemas.microsoft.com/office/drawing/2014/main" id="{611EF4D1-79E0-4469-AA51-4240B966F552}"/>
              </a:ext>
            </a:extLst>
          </p:cNvPr>
          <p:cNvSpPr>
            <a:spLocks noChangeAspect="1"/>
          </p:cNvSpPr>
          <p:nvPr/>
        </p:nvSpPr>
        <p:spPr bwMode="gray">
          <a:xfrm>
            <a:off x="4787343" y="3274217"/>
            <a:ext cx="90708" cy="9815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1" name="Freeform 187">
            <a:extLst>
              <a:ext uri="{FF2B5EF4-FFF2-40B4-BE49-F238E27FC236}">
                <a16:creationId xmlns:a16="http://schemas.microsoft.com/office/drawing/2014/main" id="{1CF1CB39-B7E9-4940-A937-D2F692E47E60}"/>
              </a:ext>
            </a:extLst>
          </p:cNvPr>
          <p:cNvSpPr>
            <a:spLocks noChangeAspect="1"/>
          </p:cNvSpPr>
          <p:nvPr/>
        </p:nvSpPr>
        <p:spPr bwMode="gray">
          <a:xfrm>
            <a:off x="4469866" y="3654547"/>
            <a:ext cx="79370" cy="145180"/>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2" name="Freeform 188">
            <a:extLst>
              <a:ext uri="{FF2B5EF4-FFF2-40B4-BE49-F238E27FC236}">
                <a16:creationId xmlns:a16="http://schemas.microsoft.com/office/drawing/2014/main" id="{377352A0-84C0-43D7-B998-CF570307B964}"/>
              </a:ext>
            </a:extLst>
          </p:cNvPr>
          <p:cNvSpPr>
            <a:spLocks noChangeAspect="1"/>
          </p:cNvSpPr>
          <p:nvPr/>
        </p:nvSpPr>
        <p:spPr bwMode="gray">
          <a:xfrm>
            <a:off x="4848571" y="3219007"/>
            <a:ext cx="222235" cy="267868"/>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83" name="Group 782">
            <a:extLst>
              <a:ext uri="{FF2B5EF4-FFF2-40B4-BE49-F238E27FC236}">
                <a16:creationId xmlns:a16="http://schemas.microsoft.com/office/drawing/2014/main" id="{4B19AB90-18B5-41AB-8B6C-F148C6D9D968}"/>
              </a:ext>
            </a:extLst>
          </p:cNvPr>
          <p:cNvGrpSpPr>
            <a:grpSpLocks noChangeAspect="1"/>
          </p:cNvGrpSpPr>
          <p:nvPr/>
        </p:nvGrpSpPr>
        <p:grpSpPr bwMode="gray">
          <a:xfrm>
            <a:off x="4585675" y="3360099"/>
            <a:ext cx="353771" cy="314897"/>
            <a:chOff x="2465" y="1836"/>
            <a:chExt cx="156" cy="154"/>
          </a:xfrm>
          <a:solidFill>
            <a:schemeClr val="bg1">
              <a:lumMod val="85000"/>
            </a:schemeClr>
          </a:solidFill>
        </p:grpSpPr>
        <p:sp>
          <p:nvSpPr>
            <p:cNvPr id="816" name="Freeform 190">
              <a:extLst>
                <a:ext uri="{FF2B5EF4-FFF2-40B4-BE49-F238E27FC236}">
                  <a16:creationId xmlns:a16="http://schemas.microsoft.com/office/drawing/2014/main" id="{EDEC628E-6875-4E60-B63B-98A6EB0E9099}"/>
                </a:ext>
              </a:extLst>
            </p:cNvPr>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7" name="Freeform 191">
              <a:extLst>
                <a:ext uri="{FF2B5EF4-FFF2-40B4-BE49-F238E27FC236}">
                  <a16:creationId xmlns:a16="http://schemas.microsoft.com/office/drawing/2014/main" id="{F2D8CB98-F15D-4883-AA50-8C3762E79ED7}"/>
                </a:ext>
              </a:extLst>
            </p:cNvPr>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784" name="Group 783">
            <a:extLst>
              <a:ext uri="{FF2B5EF4-FFF2-40B4-BE49-F238E27FC236}">
                <a16:creationId xmlns:a16="http://schemas.microsoft.com/office/drawing/2014/main" id="{FC69CC92-EF5E-491B-927F-04D6EA169203}"/>
              </a:ext>
            </a:extLst>
          </p:cNvPr>
          <p:cNvGrpSpPr>
            <a:grpSpLocks noChangeAspect="1"/>
          </p:cNvGrpSpPr>
          <p:nvPr/>
        </p:nvGrpSpPr>
        <p:grpSpPr bwMode="gray">
          <a:xfrm>
            <a:off x="4501614" y="3065650"/>
            <a:ext cx="244912" cy="333301"/>
            <a:chOff x="2428" y="1692"/>
            <a:chExt cx="108" cy="163"/>
          </a:xfrm>
          <a:solidFill>
            <a:srgbClr val="D9D9D9"/>
          </a:solidFill>
        </p:grpSpPr>
        <p:sp>
          <p:nvSpPr>
            <p:cNvPr id="814" name="Freeform 193">
              <a:extLst>
                <a:ext uri="{FF2B5EF4-FFF2-40B4-BE49-F238E27FC236}">
                  <a16:creationId xmlns:a16="http://schemas.microsoft.com/office/drawing/2014/main" id="{ADE83ADA-492F-463F-A7A9-9240CC280F36}"/>
                </a:ext>
              </a:extLst>
            </p:cNvPr>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5" name="Freeform 194">
              <a:extLst>
                <a:ext uri="{FF2B5EF4-FFF2-40B4-BE49-F238E27FC236}">
                  <a16:creationId xmlns:a16="http://schemas.microsoft.com/office/drawing/2014/main" id="{EC538412-795D-4E2A-B1FD-0B3E7F45085A}"/>
                </a:ext>
              </a:extLst>
            </p:cNvPr>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85" name="Freeform 195">
            <a:extLst>
              <a:ext uri="{FF2B5EF4-FFF2-40B4-BE49-F238E27FC236}">
                <a16:creationId xmlns:a16="http://schemas.microsoft.com/office/drawing/2014/main" id="{5D03ACBD-8A9B-4658-850C-72AC5FAB2DB7}"/>
              </a:ext>
            </a:extLst>
          </p:cNvPr>
          <p:cNvSpPr>
            <a:spLocks noChangeAspect="1"/>
          </p:cNvSpPr>
          <p:nvPr/>
        </p:nvSpPr>
        <p:spPr bwMode="gray">
          <a:xfrm>
            <a:off x="4444921" y="3206738"/>
            <a:ext cx="106583" cy="141091"/>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6" name="Freeform 196">
            <a:extLst>
              <a:ext uri="{FF2B5EF4-FFF2-40B4-BE49-F238E27FC236}">
                <a16:creationId xmlns:a16="http://schemas.microsoft.com/office/drawing/2014/main" id="{3EF85F97-978C-4443-AA5A-224CD701E24C}"/>
              </a:ext>
            </a:extLst>
          </p:cNvPr>
          <p:cNvSpPr>
            <a:spLocks noChangeAspect="1"/>
          </p:cNvSpPr>
          <p:nvPr/>
        </p:nvSpPr>
        <p:spPr bwMode="gray">
          <a:xfrm>
            <a:off x="5249955" y="3313067"/>
            <a:ext cx="451273" cy="269913"/>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7" name="Freeform 197">
            <a:extLst>
              <a:ext uri="{FF2B5EF4-FFF2-40B4-BE49-F238E27FC236}">
                <a16:creationId xmlns:a16="http://schemas.microsoft.com/office/drawing/2014/main" id="{5D06F513-3D22-432E-B03D-D9F09FAE65B6}"/>
              </a:ext>
            </a:extLst>
          </p:cNvPr>
          <p:cNvSpPr>
            <a:spLocks noChangeAspect="1"/>
          </p:cNvSpPr>
          <p:nvPr/>
        </p:nvSpPr>
        <p:spPr bwMode="gray">
          <a:xfrm>
            <a:off x="5361072" y="3450068"/>
            <a:ext cx="86173" cy="9815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8" name="Freeform 198">
            <a:extLst>
              <a:ext uri="{FF2B5EF4-FFF2-40B4-BE49-F238E27FC236}">
                <a16:creationId xmlns:a16="http://schemas.microsoft.com/office/drawing/2014/main" id="{7417AEED-5780-4F12-9354-A3DEBD57801A}"/>
              </a:ext>
            </a:extLst>
          </p:cNvPr>
          <p:cNvSpPr>
            <a:spLocks noChangeAspect="1"/>
          </p:cNvSpPr>
          <p:nvPr/>
        </p:nvSpPr>
        <p:spPr bwMode="gray">
          <a:xfrm>
            <a:off x="5274898" y="3167889"/>
            <a:ext cx="242645" cy="184031"/>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89" name="Group 788">
            <a:extLst>
              <a:ext uri="{FF2B5EF4-FFF2-40B4-BE49-F238E27FC236}">
                <a16:creationId xmlns:a16="http://schemas.microsoft.com/office/drawing/2014/main" id="{65A467B0-7B26-4F1F-B4D0-2F52E1F204B4}"/>
              </a:ext>
            </a:extLst>
          </p:cNvPr>
          <p:cNvGrpSpPr>
            <a:grpSpLocks noChangeAspect="1"/>
          </p:cNvGrpSpPr>
          <p:nvPr/>
        </p:nvGrpSpPr>
        <p:grpSpPr bwMode="gray">
          <a:xfrm>
            <a:off x="5091215" y="3552308"/>
            <a:ext cx="97512" cy="87926"/>
            <a:chOff x="2688" y="1930"/>
            <a:chExt cx="43" cy="43"/>
          </a:xfrm>
          <a:solidFill>
            <a:schemeClr val="bg1">
              <a:lumMod val="85000"/>
            </a:schemeClr>
          </a:solidFill>
        </p:grpSpPr>
        <p:sp>
          <p:nvSpPr>
            <p:cNvPr id="812" name="Freeform 200">
              <a:extLst>
                <a:ext uri="{FF2B5EF4-FFF2-40B4-BE49-F238E27FC236}">
                  <a16:creationId xmlns:a16="http://schemas.microsoft.com/office/drawing/2014/main" id="{B9E7769A-5BA6-4993-8A36-7F352AB1A4FA}"/>
                </a:ext>
              </a:extLst>
            </p:cNvPr>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3" name="Freeform 201">
              <a:extLst>
                <a:ext uri="{FF2B5EF4-FFF2-40B4-BE49-F238E27FC236}">
                  <a16:creationId xmlns:a16="http://schemas.microsoft.com/office/drawing/2014/main" id="{23C8D0A0-5687-4594-862E-4407B7BA12F1}"/>
                </a:ext>
              </a:extLst>
            </p:cNvPr>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20" name="Group 19">
            <a:extLst>
              <a:ext uri="{FF2B5EF4-FFF2-40B4-BE49-F238E27FC236}">
                <a16:creationId xmlns:a16="http://schemas.microsoft.com/office/drawing/2014/main" id="{672586AB-4AE1-5657-4A3B-818788081A11}"/>
              </a:ext>
            </a:extLst>
          </p:cNvPr>
          <p:cNvGrpSpPr/>
          <p:nvPr/>
        </p:nvGrpSpPr>
        <p:grpSpPr>
          <a:xfrm>
            <a:off x="5202332" y="3664406"/>
            <a:ext cx="158739" cy="155402"/>
            <a:chOff x="5202332" y="3664406"/>
            <a:chExt cx="158739" cy="155402"/>
          </a:xfrm>
        </p:grpSpPr>
        <p:sp>
          <p:nvSpPr>
            <p:cNvPr id="790" name="Freeform 202">
              <a:extLst>
                <a:ext uri="{FF2B5EF4-FFF2-40B4-BE49-F238E27FC236}">
                  <a16:creationId xmlns:a16="http://schemas.microsoft.com/office/drawing/2014/main" id="{E0034037-1FC6-4385-8E27-38636D35E990}"/>
                </a:ext>
              </a:extLst>
            </p:cNvPr>
            <p:cNvSpPr>
              <a:spLocks noChangeAspect="1"/>
            </p:cNvSpPr>
            <p:nvPr/>
          </p:nvSpPr>
          <p:spPr bwMode="gray">
            <a:xfrm>
              <a:off x="5227277" y="3766644"/>
              <a:ext cx="56693" cy="53164"/>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1" name="Freeform 203">
              <a:extLst>
                <a:ext uri="{FF2B5EF4-FFF2-40B4-BE49-F238E27FC236}">
                  <a16:creationId xmlns:a16="http://schemas.microsoft.com/office/drawing/2014/main" id="{A875C892-5406-4ACA-9973-56E8B2287700}"/>
                </a:ext>
              </a:extLst>
            </p:cNvPr>
            <p:cNvSpPr>
              <a:spLocks noChangeAspect="1"/>
            </p:cNvSpPr>
            <p:nvPr/>
          </p:nvSpPr>
          <p:spPr bwMode="gray">
            <a:xfrm>
              <a:off x="5202332" y="3664406"/>
              <a:ext cx="158739" cy="12064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92" name="Freeform 204">
            <a:extLst>
              <a:ext uri="{FF2B5EF4-FFF2-40B4-BE49-F238E27FC236}">
                <a16:creationId xmlns:a16="http://schemas.microsoft.com/office/drawing/2014/main" id="{CE5D8939-1402-46C9-AFF5-9AF03D3A130D}"/>
              </a:ext>
            </a:extLst>
          </p:cNvPr>
          <p:cNvSpPr>
            <a:spLocks noChangeAspect="1"/>
          </p:cNvSpPr>
          <p:nvPr/>
        </p:nvSpPr>
        <p:spPr bwMode="gray">
          <a:xfrm>
            <a:off x="5100285" y="3448023"/>
            <a:ext cx="167811" cy="89971"/>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3" name="Freeform 205">
            <a:extLst>
              <a:ext uri="{FF2B5EF4-FFF2-40B4-BE49-F238E27FC236}">
                <a16:creationId xmlns:a16="http://schemas.microsoft.com/office/drawing/2014/main" id="{180B1CCC-0A42-46D4-B222-73EE3535F720}"/>
              </a:ext>
            </a:extLst>
          </p:cNvPr>
          <p:cNvSpPr>
            <a:spLocks noChangeAspect="1"/>
          </p:cNvSpPr>
          <p:nvPr/>
        </p:nvSpPr>
        <p:spPr bwMode="gray">
          <a:xfrm>
            <a:off x="5050397" y="3219007"/>
            <a:ext cx="247180" cy="21061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4" name="Freeform 206">
            <a:extLst>
              <a:ext uri="{FF2B5EF4-FFF2-40B4-BE49-F238E27FC236}">
                <a16:creationId xmlns:a16="http://schemas.microsoft.com/office/drawing/2014/main" id="{486C31D4-2D92-4923-9676-B158E7A15864}"/>
              </a:ext>
            </a:extLst>
          </p:cNvPr>
          <p:cNvSpPr>
            <a:spLocks noChangeAspect="1"/>
          </p:cNvSpPr>
          <p:nvPr/>
        </p:nvSpPr>
        <p:spPr bwMode="gray">
          <a:xfrm>
            <a:off x="5220473" y="3090186"/>
            <a:ext cx="183684" cy="9815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5" name="Freeform 207">
            <a:extLst>
              <a:ext uri="{FF2B5EF4-FFF2-40B4-BE49-F238E27FC236}">
                <a16:creationId xmlns:a16="http://schemas.microsoft.com/office/drawing/2014/main" id="{CA5A235B-2CAD-4CC5-94F9-5D4C7C53EAB5}"/>
              </a:ext>
            </a:extLst>
          </p:cNvPr>
          <p:cNvSpPr>
            <a:spLocks noChangeAspect="1"/>
          </p:cNvSpPr>
          <p:nvPr/>
        </p:nvSpPr>
        <p:spPr bwMode="gray">
          <a:xfrm>
            <a:off x="4995973" y="3358052"/>
            <a:ext cx="172345" cy="92016"/>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6" name="Freeform 208">
            <a:extLst>
              <a:ext uri="{FF2B5EF4-FFF2-40B4-BE49-F238E27FC236}">
                <a16:creationId xmlns:a16="http://schemas.microsoft.com/office/drawing/2014/main" id="{7FBE980E-4488-4EA6-909A-4918F9E45A3B}"/>
              </a:ext>
            </a:extLst>
          </p:cNvPr>
          <p:cNvSpPr>
            <a:spLocks noChangeAspect="1"/>
          </p:cNvSpPr>
          <p:nvPr/>
        </p:nvSpPr>
        <p:spPr bwMode="gray">
          <a:xfrm>
            <a:off x="5256756" y="3589114"/>
            <a:ext cx="156472" cy="87926"/>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7" name="Freeform 209">
            <a:extLst>
              <a:ext uri="{FF2B5EF4-FFF2-40B4-BE49-F238E27FC236}">
                <a16:creationId xmlns:a16="http://schemas.microsoft.com/office/drawing/2014/main" id="{72FCD2A9-B997-4D42-AB31-297FCA4B9874}"/>
              </a:ext>
            </a:extLst>
          </p:cNvPr>
          <p:cNvSpPr>
            <a:spLocks noChangeAspect="1"/>
          </p:cNvSpPr>
          <p:nvPr/>
        </p:nvSpPr>
        <p:spPr bwMode="gray">
          <a:xfrm>
            <a:off x="5036791" y="3513456"/>
            <a:ext cx="145133" cy="112464"/>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8" name="Freeform 210">
            <a:extLst>
              <a:ext uri="{FF2B5EF4-FFF2-40B4-BE49-F238E27FC236}">
                <a16:creationId xmlns:a16="http://schemas.microsoft.com/office/drawing/2014/main" id="{EC5904DB-0E0B-4002-A4EE-67770CA66F22}"/>
              </a:ext>
            </a:extLst>
          </p:cNvPr>
          <p:cNvSpPr>
            <a:spLocks noChangeAspect="1"/>
          </p:cNvSpPr>
          <p:nvPr/>
        </p:nvSpPr>
        <p:spPr bwMode="gray">
          <a:xfrm>
            <a:off x="5179655" y="3636143"/>
            <a:ext cx="45354" cy="87926"/>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9" name="Freeform 211">
            <a:extLst>
              <a:ext uri="{FF2B5EF4-FFF2-40B4-BE49-F238E27FC236}">
                <a16:creationId xmlns:a16="http://schemas.microsoft.com/office/drawing/2014/main" id="{DE6BD1EE-2288-4B09-8A80-11A678DA65B9}"/>
              </a:ext>
            </a:extLst>
          </p:cNvPr>
          <p:cNvSpPr>
            <a:spLocks noChangeAspect="1"/>
          </p:cNvSpPr>
          <p:nvPr/>
        </p:nvSpPr>
        <p:spPr bwMode="gray">
          <a:xfrm>
            <a:off x="5222742" y="3155619"/>
            <a:ext cx="142866" cy="9815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0" name="Freeform 213">
            <a:extLst>
              <a:ext uri="{FF2B5EF4-FFF2-40B4-BE49-F238E27FC236}">
                <a16:creationId xmlns:a16="http://schemas.microsoft.com/office/drawing/2014/main" id="{59911FF1-BB56-4982-83F2-4DD7F457CD91}"/>
              </a:ext>
            </a:extLst>
          </p:cNvPr>
          <p:cNvSpPr>
            <a:spLocks noChangeAspect="1"/>
          </p:cNvSpPr>
          <p:nvPr/>
        </p:nvSpPr>
        <p:spPr bwMode="gray">
          <a:xfrm>
            <a:off x="5120694" y="3413263"/>
            <a:ext cx="136062" cy="61344"/>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1" name="Freeform 214">
            <a:extLst>
              <a:ext uri="{FF2B5EF4-FFF2-40B4-BE49-F238E27FC236}">
                <a16:creationId xmlns:a16="http://schemas.microsoft.com/office/drawing/2014/main" id="{B907C80B-A09D-40BA-AE2D-ED9C51AC58C4}"/>
              </a:ext>
            </a:extLst>
          </p:cNvPr>
          <p:cNvSpPr>
            <a:spLocks noChangeAspect="1"/>
          </p:cNvSpPr>
          <p:nvPr/>
        </p:nvSpPr>
        <p:spPr bwMode="gray">
          <a:xfrm>
            <a:off x="5034522" y="3503233"/>
            <a:ext cx="77102" cy="51120"/>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2" name="Freeform 215">
            <a:extLst>
              <a:ext uri="{FF2B5EF4-FFF2-40B4-BE49-F238E27FC236}">
                <a16:creationId xmlns:a16="http://schemas.microsoft.com/office/drawing/2014/main" id="{CB514A90-ADD6-44F7-B951-690A23BB6BA4}"/>
              </a:ext>
            </a:extLst>
          </p:cNvPr>
          <p:cNvSpPr>
            <a:spLocks noChangeAspect="1"/>
          </p:cNvSpPr>
          <p:nvPr/>
        </p:nvSpPr>
        <p:spPr bwMode="gray">
          <a:xfrm>
            <a:off x="5211403" y="3646369"/>
            <a:ext cx="58960" cy="42941"/>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3" name="Freeform 216">
            <a:extLst>
              <a:ext uri="{FF2B5EF4-FFF2-40B4-BE49-F238E27FC236}">
                <a16:creationId xmlns:a16="http://schemas.microsoft.com/office/drawing/2014/main" id="{1E304FE2-2FA1-4E21-A566-055148E32D43}"/>
              </a:ext>
            </a:extLst>
          </p:cNvPr>
          <p:cNvSpPr>
            <a:spLocks noChangeAspect="1"/>
          </p:cNvSpPr>
          <p:nvPr/>
        </p:nvSpPr>
        <p:spPr bwMode="gray">
          <a:xfrm>
            <a:off x="5202333" y="3456202"/>
            <a:ext cx="235841" cy="149270"/>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4" name="Freeform 217">
            <a:extLst>
              <a:ext uri="{FF2B5EF4-FFF2-40B4-BE49-F238E27FC236}">
                <a16:creationId xmlns:a16="http://schemas.microsoft.com/office/drawing/2014/main" id="{0609138F-0C13-4939-A179-7ECF0F5E62A2}"/>
              </a:ext>
            </a:extLst>
          </p:cNvPr>
          <p:cNvSpPr>
            <a:spLocks noChangeAspect="1"/>
          </p:cNvSpPr>
          <p:nvPr/>
        </p:nvSpPr>
        <p:spPr bwMode="gray">
          <a:xfrm>
            <a:off x="5281702" y="3022708"/>
            <a:ext cx="122456" cy="89971"/>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5" name="Freeform 218">
            <a:extLst>
              <a:ext uri="{FF2B5EF4-FFF2-40B4-BE49-F238E27FC236}">
                <a16:creationId xmlns:a16="http://schemas.microsoft.com/office/drawing/2014/main" id="{AC2D9FD5-A96F-4AE2-A487-843FFCFDA947}"/>
              </a:ext>
            </a:extLst>
          </p:cNvPr>
          <p:cNvSpPr>
            <a:spLocks noChangeAspect="1"/>
          </p:cNvSpPr>
          <p:nvPr/>
        </p:nvSpPr>
        <p:spPr bwMode="gray">
          <a:xfrm>
            <a:off x="5211403" y="2464483"/>
            <a:ext cx="269857" cy="548003"/>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6" name="Freeform 219">
            <a:extLst>
              <a:ext uri="{FF2B5EF4-FFF2-40B4-BE49-F238E27FC236}">
                <a16:creationId xmlns:a16="http://schemas.microsoft.com/office/drawing/2014/main" id="{B6CA45AC-127B-4474-85A0-DBBBC00A17A3}"/>
              </a:ext>
            </a:extLst>
          </p:cNvPr>
          <p:cNvSpPr>
            <a:spLocks noChangeAspect="1"/>
          </p:cNvSpPr>
          <p:nvPr/>
        </p:nvSpPr>
        <p:spPr bwMode="gray">
          <a:xfrm>
            <a:off x="4900730" y="3104500"/>
            <a:ext cx="70299" cy="116553"/>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 name="Group 6">
            <a:extLst>
              <a:ext uri="{FF2B5EF4-FFF2-40B4-BE49-F238E27FC236}">
                <a16:creationId xmlns:a16="http://schemas.microsoft.com/office/drawing/2014/main" id="{955D06D9-B0D7-A8DD-0025-4DC75DAC7751}"/>
              </a:ext>
            </a:extLst>
          </p:cNvPr>
          <p:cNvGrpSpPr/>
          <p:nvPr/>
        </p:nvGrpSpPr>
        <p:grpSpPr>
          <a:xfrm>
            <a:off x="4825895" y="1568862"/>
            <a:ext cx="646295" cy="1523369"/>
            <a:chOff x="4825895" y="1568862"/>
            <a:chExt cx="646295" cy="1523369"/>
          </a:xfrm>
        </p:grpSpPr>
        <p:grpSp>
          <p:nvGrpSpPr>
            <p:cNvPr id="667" name="Group 666">
              <a:extLst>
                <a:ext uri="{FF2B5EF4-FFF2-40B4-BE49-F238E27FC236}">
                  <a16:creationId xmlns:a16="http://schemas.microsoft.com/office/drawing/2014/main" id="{76218712-749A-432C-9EB5-5950B9C63A3B}"/>
                </a:ext>
              </a:extLst>
            </p:cNvPr>
            <p:cNvGrpSpPr>
              <a:grpSpLocks noChangeAspect="1"/>
            </p:cNvGrpSpPr>
            <p:nvPr/>
          </p:nvGrpSpPr>
          <p:grpSpPr bwMode="gray">
            <a:xfrm>
              <a:off x="4966511" y="1568862"/>
              <a:ext cx="410456" cy="382376"/>
              <a:chOff x="3202" y="1036"/>
              <a:chExt cx="181" cy="187"/>
            </a:xfrm>
            <a:solidFill>
              <a:srgbClr val="D8D8D8"/>
            </a:solidFill>
          </p:grpSpPr>
          <p:sp>
            <p:nvSpPr>
              <p:cNvPr id="821" name="Freeform 223">
                <a:extLst>
                  <a:ext uri="{FF2B5EF4-FFF2-40B4-BE49-F238E27FC236}">
                    <a16:creationId xmlns:a16="http://schemas.microsoft.com/office/drawing/2014/main" id="{32B4E0D7-CF73-4D51-8842-B1583A6B6C9D}"/>
                  </a:ext>
                </a:extLst>
              </p:cNvPr>
              <p:cNvSpPr>
                <a:spLocks noChangeAspect="1"/>
              </p:cNvSpPr>
              <p:nvPr/>
            </p:nvSpPr>
            <p:spPr bwMode="gray">
              <a:xfrm>
                <a:off x="3202" y="1036"/>
                <a:ext cx="118" cy="18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2" name="Freeform 224">
                <a:extLst>
                  <a:ext uri="{FF2B5EF4-FFF2-40B4-BE49-F238E27FC236}">
                    <a16:creationId xmlns:a16="http://schemas.microsoft.com/office/drawing/2014/main" id="{C3FEC01E-C03E-4EF5-9BA9-2BB2868EDD4E}"/>
                  </a:ext>
                </a:extLst>
              </p:cNvPr>
              <p:cNvSpPr>
                <a:spLocks noChangeAspect="1"/>
              </p:cNvSpPr>
              <p:nvPr/>
            </p:nvSpPr>
            <p:spPr bwMode="gray">
              <a:xfrm>
                <a:off x="3306" y="1118"/>
                <a:ext cx="25" cy="2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3" name="Freeform 225">
                <a:extLst>
                  <a:ext uri="{FF2B5EF4-FFF2-40B4-BE49-F238E27FC236}">
                    <a16:creationId xmlns:a16="http://schemas.microsoft.com/office/drawing/2014/main" id="{AEA726B3-DB2E-4B2A-9982-CB8782143786}"/>
                  </a:ext>
                </a:extLst>
              </p:cNvPr>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4" name="Freeform 226">
                <a:extLst>
                  <a:ext uri="{FF2B5EF4-FFF2-40B4-BE49-F238E27FC236}">
                    <a16:creationId xmlns:a16="http://schemas.microsoft.com/office/drawing/2014/main" id="{A640ED30-CA53-4BAE-9296-8DC2094BA99C}"/>
                  </a:ext>
                </a:extLst>
              </p:cNvPr>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5" name="Freeform 227">
                <a:extLst>
                  <a:ext uri="{FF2B5EF4-FFF2-40B4-BE49-F238E27FC236}">
                    <a16:creationId xmlns:a16="http://schemas.microsoft.com/office/drawing/2014/main" id="{2673C6CC-C045-4A1C-8E6D-9F0BF616E57E}"/>
                  </a:ext>
                </a:extLst>
              </p:cNvPr>
              <p:cNvSpPr>
                <a:spLocks noChangeAspect="1"/>
              </p:cNvSpPr>
              <p:nvPr/>
            </p:nvSpPr>
            <p:spPr bwMode="gray">
              <a:xfrm>
                <a:off x="3313" y="1136"/>
                <a:ext cx="45" cy="54"/>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6" name="Freeform 228">
                <a:extLst>
                  <a:ext uri="{FF2B5EF4-FFF2-40B4-BE49-F238E27FC236}">
                    <a16:creationId xmlns:a16="http://schemas.microsoft.com/office/drawing/2014/main" id="{CD753CF5-EB57-4ED0-9D4C-6AACD771064D}"/>
                  </a:ext>
                </a:extLst>
              </p:cNvPr>
              <p:cNvSpPr>
                <a:spLocks noChangeAspect="1"/>
              </p:cNvSpPr>
              <p:nvPr/>
            </p:nvSpPr>
            <p:spPr bwMode="gray">
              <a:xfrm>
                <a:off x="3284" y="1036"/>
                <a:ext cx="99" cy="5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07" name="Freeform 220">
              <a:extLst>
                <a:ext uri="{FF2B5EF4-FFF2-40B4-BE49-F238E27FC236}">
                  <a16:creationId xmlns:a16="http://schemas.microsoft.com/office/drawing/2014/main" id="{EC024AAC-8DCF-40D6-A5A7-FF537F010A89}"/>
                </a:ext>
              </a:extLst>
            </p:cNvPr>
            <p:cNvSpPr>
              <a:spLocks noChangeAspect="1"/>
            </p:cNvSpPr>
            <p:nvPr/>
          </p:nvSpPr>
          <p:spPr bwMode="gray">
            <a:xfrm>
              <a:off x="4825895" y="2397004"/>
              <a:ext cx="646295" cy="695227"/>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08" name="Freeform 221">
            <a:extLst>
              <a:ext uri="{FF2B5EF4-FFF2-40B4-BE49-F238E27FC236}">
                <a16:creationId xmlns:a16="http://schemas.microsoft.com/office/drawing/2014/main" id="{4415F422-740B-4229-A00D-1855BA17152A}"/>
              </a:ext>
            </a:extLst>
          </p:cNvPr>
          <p:cNvSpPr>
            <a:spLocks noChangeAspect="1"/>
          </p:cNvSpPr>
          <p:nvPr/>
        </p:nvSpPr>
        <p:spPr bwMode="gray">
          <a:xfrm>
            <a:off x="4975563" y="2527869"/>
            <a:ext cx="324282" cy="67069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0" name="Freeform 45">
            <a:extLst>
              <a:ext uri="{FF2B5EF4-FFF2-40B4-BE49-F238E27FC236}">
                <a16:creationId xmlns:a16="http://schemas.microsoft.com/office/drawing/2014/main" id="{C10EAF78-DBC2-4D55-BE28-E6701553AC51}"/>
              </a:ext>
            </a:extLst>
          </p:cNvPr>
          <p:cNvSpPr>
            <a:spLocks noChangeAspect="1"/>
          </p:cNvSpPr>
          <p:nvPr/>
        </p:nvSpPr>
        <p:spPr bwMode="gray">
          <a:xfrm>
            <a:off x="5165653" y="3526481"/>
            <a:ext cx="101586" cy="134379"/>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1" name="Freeform 46">
            <a:extLst>
              <a:ext uri="{FF2B5EF4-FFF2-40B4-BE49-F238E27FC236}">
                <a16:creationId xmlns:a16="http://schemas.microsoft.com/office/drawing/2014/main" id="{4C668F8A-897C-442A-A86C-B033ECBF705D}"/>
              </a:ext>
            </a:extLst>
          </p:cNvPr>
          <p:cNvSpPr>
            <a:spLocks noChangeAspect="1"/>
          </p:cNvSpPr>
          <p:nvPr/>
        </p:nvSpPr>
        <p:spPr bwMode="gray">
          <a:xfrm>
            <a:off x="5159247" y="3612597"/>
            <a:ext cx="50336" cy="52994"/>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71" name="Group 670">
            <a:extLst>
              <a:ext uri="{FF2B5EF4-FFF2-40B4-BE49-F238E27FC236}">
                <a16:creationId xmlns:a16="http://schemas.microsoft.com/office/drawing/2014/main" id="{C69C85E1-2CBF-403E-A5A9-E01D9EBAAFB3}"/>
              </a:ext>
            </a:extLst>
          </p:cNvPr>
          <p:cNvGrpSpPr/>
          <p:nvPr/>
        </p:nvGrpSpPr>
        <p:grpSpPr bwMode="gray">
          <a:xfrm>
            <a:off x="4265786" y="3791537"/>
            <a:ext cx="1709849" cy="1725796"/>
            <a:chOff x="4455318" y="2994372"/>
            <a:chExt cx="1196974" cy="1339850"/>
          </a:xfrm>
          <a:solidFill>
            <a:schemeClr val="bg1">
              <a:lumMod val="85000"/>
            </a:schemeClr>
          </a:solidFill>
        </p:grpSpPr>
        <p:sp>
          <p:nvSpPr>
            <p:cNvPr id="718" name="Freeform 111">
              <a:extLst>
                <a:ext uri="{FF2B5EF4-FFF2-40B4-BE49-F238E27FC236}">
                  <a16:creationId xmlns:a16="http://schemas.microsoft.com/office/drawing/2014/main" id="{0A250BA5-64BB-4393-A112-944FEE2C0DBD}"/>
                </a:ext>
              </a:extLst>
            </p:cNvPr>
            <p:cNvSpPr>
              <a:spLocks noChangeAspect="1"/>
            </p:cNvSpPr>
            <p:nvPr/>
          </p:nvSpPr>
          <p:spPr bwMode="gray">
            <a:xfrm>
              <a:off x="4918868" y="3083272"/>
              <a:ext cx="276225" cy="265113"/>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19" name="Freeform 112">
              <a:extLst>
                <a:ext uri="{FF2B5EF4-FFF2-40B4-BE49-F238E27FC236}">
                  <a16:creationId xmlns:a16="http://schemas.microsoft.com/office/drawing/2014/main" id="{F66D0866-491D-4B21-B8E0-17614AB35CE3}"/>
                </a:ext>
              </a:extLst>
            </p:cNvPr>
            <p:cNvSpPr>
              <a:spLocks noChangeAspect="1"/>
            </p:cNvSpPr>
            <p:nvPr/>
          </p:nvSpPr>
          <p:spPr bwMode="gray">
            <a:xfrm>
              <a:off x="4464843" y="3192809"/>
              <a:ext cx="146050" cy="127000"/>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20" name="Group 719">
              <a:extLst>
                <a:ext uri="{FF2B5EF4-FFF2-40B4-BE49-F238E27FC236}">
                  <a16:creationId xmlns:a16="http://schemas.microsoft.com/office/drawing/2014/main" id="{AC700263-F751-4335-8B23-763A5F2E1FB0}"/>
                </a:ext>
              </a:extLst>
            </p:cNvPr>
            <p:cNvGrpSpPr/>
            <p:nvPr/>
          </p:nvGrpSpPr>
          <p:grpSpPr bwMode="gray">
            <a:xfrm>
              <a:off x="4455318" y="2994372"/>
              <a:ext cx="1196974" cy="1339850"/>
              <a:chOff x="4455318" y="2994372"/>
              <a:chExt cx="1196974" cy="1339850"/>
            </a:xfrm>
            <a:grpFill/>
          </p:grpSpPr>
          <p:sp>
            <p:nvSpPr>
              <p:cNvPr id="721" name="Freeform 114">
                <a:extLst>
                  <a:ext uri="{FF2B5EF4-FFF2-40B4-BE49-F238E27FC236}">
                    <a16:creationId xmlns:a16="http://schemas.microsoft.com/office/drawing/2014/main" id="{B4D4D330-D572-46D9-9ED9-E5DD38C0BD0E}"/>
                  </a:ext>
                </a:extLst>
              </p:cNvPr>
              <p:cNvSpPr>
                <a:spLocks noChangeAspect="1"/>
              </p:cNvSpPr>
              <p:nvPr/>
            </p:nvSpPr>
            <p:spPr bwMode="gray">
              <a:xfrm>
                <a:off x="4704556" y="3497609"/>
                <a:ext cx="77788" cy="114300"/>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2" name="Freeform 115">
                <a:extLst>
                  <a:ext uri="{FF2B5EF4-FFF2-40B4-BE49-F238E27FC236}">
                    <a16:creationId xmlns:a16="http://schemas.microsoft.com/office/drawing/2014/main" id="{E516D614-B803-47AC-8A59-0E562182FF8F}"/>
                  </a:ext>
                </a:extLst>
              </p:cNvPr>
              <p:cNvSpPr>
                <a:spLocks noChangeAspect="1"/>
              </p:cNvSpPr>
              <p:nvPr/>
            </p:nvSpPr>
            <p:spPr bwMode="gray">
              <a:xfrm>
                <a:off x="4669631" y="3429347"/>
                <a:ext cx="131763" cy="98425"/>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3" name="Freeform 116">
                <a:extLst>
                  <a:ext uri="{FF2B5EF4-FFF2-40B4-BE49-F238E27FC236}">
                    <a16:creationId xmlns:a16="http://schemas.microsoft.com/office/drawing/2014/main" id="{5D5AD40E-29A7-46D5-A2C0-7D84109EC65E}"/>
                  </a:ext>
                </a:extLst>
              </p:cNvPr>
              <p:cNvSpPr>
                <a:spLocks noChangeAspect="1"/>
              </p:cNvSpPr>
              <p:nvPr/>
            </p:nvSpPr>
            <p:spPr bwMode="gray">
              <a:xfrm>
                <a:off x="4906168" y="3469034"/>
                <a:ext cx="133350" cy="195263"/>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4" name="Freeform 117">
                <a:extLst>
                  <a:ext uri="{FF2B5EF4-FFF2-40B4-BE49-F238E27FC236}">
                    <a16:creationId xmlns:a16="http://schemas.microsoft.com/office/drawing/2014/main" id="{FCE91310-D88E-4AF9-A24A-04A12C3AB452}"/>
                  </a:ext>
                </a:extLst>
              </p:cNvPr>
              <p:cNvSpPr>
                <a:spLocks noChangeAspect="1"/>
              </p:cNvSpPr>
              <p:nvPr/>
            </p:nvSpPr>
            <p:spPr bwMode="gray">
              <a:xfrm>
                <a:off x="4772818" y="3475384"/>
                <a:ext cx="52388" cy="107950"/>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5" name="Freeform 118">
                <a:extLst>
                  <a:ext uri="{FF2B5EF4-FFF2-40B4-BE49-F238E27FC236}">
                    <a16:creationId xmlns:a16="http://schemas.microsoft.com/office/drawing/2014/main" id="{24D8E41C-E74E-45CA-A4DD-74B6B29A3327}"/>
                  </a:ext>
                </a:extLst>
              </p:cNvPr>
              <p:cNvSpPr>
                <a:spLocks noChangeAspect="1"/>
              </p:cNvSpPr>
              <p:nvPr/>
            </p:nvSpPr>
            <p:spPr bwMode="gray">
              <a:xfrm>
                <a:off x="4991892" y="3275359"/>
                <a:ext cx="187325" cy="287338"/>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6" name="Freeform 119">
                <a:extLst>
                  <a:ext uri="{FF2B5EF4-FFF2-40B4-BE49-F238E27FC236}">
                    <a16:creationId xmlns:a16="http://schemas.microsoft.com/office/drawing/2014/main" id="{FF0EE62E-3DFE-486B-82DD-4BD46BAAA37F}"/>
                  </a:ext>
                </a:extLst>
              </p:cNvPr>
              <p:cNvSpPr>
                <a:spLocks noChangeAspect="1"/>
              </p:cNvSpPr>
              <p:nvPr/>
            </p:nvSpPr>
            <p:spPr bwMode="gray">
              <a:xfrm>
                <a:off x="5395117" y="3373784"/>
                <a:ext cx="114300" cy="103188"/>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7" name="Freeform 120">
                <a:extLst>
                  <a:ext uri="{FF2B5EF4-FFF2-40B4-BE49-F238E27FC236}">
                    <a16:creationId xmlns:a16="http://schemas.microsoft.com/office/drawing/2014/main" id="{08D20D52-F0D2-43A7-BC4C-2EA186F4AE38}"/>
                  </a:ext>
                </a:extLst>
              </p:cNvPr>
              <p:cNvSpPr>
                <a:spLocks noChangeAspect="1"/>
              </p:cNvSpPr>
              <p:nvPr/>
            </p:nvSpPr>
            <p:spPr bwMode="gray">
              <a:xfrm>
                <a:off x="4548981" y="3245197"/>
                <a:ext cx="282575" cy="269875"/>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8" name="Freeform 121">
                <a:extLst>
                  <a:ext uri="{FF2B5EF4-FFF2-40B4-BE49-F238E27FC236}">
                    <a16:creationId xmlns:a16="http://schemas.microsoft.com/office/drawing/2014/main" id="{48BC6F2D-5C29-417E-B146-51F93C9F9842}"/>
                  </a:ext>
                </a:extLst>
              </p:cNvPr>
              <p:cNvSpPr>
                <a:spLocks noChangeAspect="1"/>
              </p:cNvSpPr>
              <p:nvPr/>
            </p:nvSpPr>
            <p:spPr bwMode="gray">
              <a:xfrm>
                <a:off x="4887118" y="2994372"/>
                <a:ext cx="69850" cy="147638"/>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9" name="Freeform 122">
                <a:extLst>
                  <a:ext uri="{FF2B5EF4-FFF2-40B4-BE49-F238E27FC236}">
                    <a16:creationId xmlns:a16="http://schemas.microsoft.com/office/drawing/2014/main" id="{DD4AEBB8-C3C9-4150-B624-6CE836F48145}"/>
                  </a:ext>
                </a:extLst>
              </p:cNvPr>
              <p:cNvSpPr>
                <a:spLocks noChangeAspect="1"/>
              </p:cNvSpPr>
              <p:nvPr/>
            </p:nvSpPr>
            <p:spPr bwMode="gray">
              <a:xfrm>
                <a:off x="5187155" y="3115022"/>
                <a:ext cx="195263" cy="192088"/>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0" name="Freeform 123">
                <a:extLst>
                  <a:ext uri="{FF2B5EF4-FFF2-40B4-BE49-F238E27FC236}">
                    <a16:creationId xmlns:a16="http://schemas.microsoft.com/office/drawing/2014/main" id="{948DB812-6FF6-46C7-8C0B-DF6885F1CE44}"/>
                  </a:ext>
                </a:extLst>
              </p:cNvPr>
              <p:cNvSpPr>
                <a:spLocks noChangeAspect="1"/>
              </p:cNvSpPr>
              <p:nvPr/>
            </p:nvSpPr>
            <p:spPr bwMode="gray">
              <a:xfrm>
                <a:off x="4610893" y="2999134"/>
                <a:ext cx="352425" cy="358775"/>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1" name="Freeform 124">
                <a:extLst>
                  <a:ext uri="{FF2B5EF4-FFF2-40B4-BE49-F238E27FC236}">
                    <a16:creationId xmlns:a16="http://schemas.microsoft.com/office/drawing/2014/main" id="{F770C59F-DA82-4CB2-BDB0-6AA74FFBC2BE}"/>
                  </a:ext>
                </a:extLst>
              </p:cNvPr>
              <p:cNvSpPr>
                <a:spLocks noChangeAspect="1"/>
              </p:cNvSpPr>
              <p:nvPr/>
            </p:nvSpPr>
            <p:spPr bwMode="gray">
              <a:xfrm>
                <a:off x="4464843" y="3202334"/>
                <a:ext cx="209550" cy="231775"/>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2" name="Freeform 125">
                <a:extLst>
                  <a:ext uri="{FF2B5EF4-FFF2-40B4-BE49-F238E27FC236}">
                    <a16:creationId xmlns:a16="http://schemas.microsoft.com/office/drawing/2014/main" id="{7DAB1F75-6C82-4F30-8E19-A2FA16D3CB82}"/>
                  </a:ext>
                </a:extLst>
              </p:cNvPr>
              <p:cNvSpPr>
                <a:spLocks noChangeAspect="1"/>
              </p:cNvSpPr>
              <p:nvPr/>
            </p:nvSpPr>
            <p:spPr bwMode="gray">
              <a:xfrm>
                <a:off x="4534693" y="3026122"/>
                <a:ext cx="207963" cy="166688"/>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3" name="Freeform 126">
                <a:extLst>
                  <a:ext uri="{FF2B5EF4-FFF2-40B4-BE49-F238E27FC236}">
                    <a16:creationId xmlns:a16="http://schemas.microsoft.com/office/drawing/2014/main" id="{D25EC542-0E94-43B5-97BB-D364F96E37AE}"/>
                  </a:ext>
                </a:extLst>
              </p:cNvPr>
              <p:cNvSpPr>
                <a:spLocks noChangeAspect="1"/>
              </p:cNvSpPr>
              <p:nvPr/>
            </p:nvSpPr>
            <p:spPr bwMode="gray">
              <a:xfrm>
                <a:off x="5474492" y="3484909"/>
                <a:ext cx="177800" cy="234950"/>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4" name="Freeform 127">
                <a:extLst>
                  <a:ext uri="{FF2B5EF4-FFF2-40B4-BE49-F238E27FC236}">
                    <a16:creationId xmlns:a16="http://schemas.microsoft.com/office/drawing/2014/main" id="{140EE7D3-C33D-41A4-A4D4-4BAA4821E4DD}"/>
                  </a:ext>
                </a:extLst>
              </p:cNvPr>
              <p:cNvSpPr>
                <a:spLocks noChangeAspect="1"/>
              </p:cNvSpPr>
              <p:nvPr/>
            </p:nvSpPr>
            <p:spPr bwMode="gray">
              <a:xfrm>
                <a:off x="4761706" y="3272184"/>
                <a:ext cx="276225" cy="215900"/>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5" name="Freeform 18">
                <a:extLst>
                  <a:ext uri="{FF2B5EF4-FFF2-40B4-BE49-F238E27FC236}">
                    <a16:creationId xmlns:a16="http://schemas.microsoft.com/office/drawing/2014/main" id="{D00BDB1C-0238-4C74-B5F1-707D9DFD1F00}"/>
                  </a:ext>
                </a:extLst>
              </p:cNvPr>
              <p:cNvSpPr>
                <a:spLocks noChangeAspect="1"/>
              </p:cNvSpPr>
              <p:nvPr/>
            </p:nvSpPr>
            <p:spPr bwMode="gray">
              <a:xfrm>
                <a:off x="5334792" y="3432522"/>
                <a:ext cx="261938" cy="198438"/>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6" name="Freeform 129">
                <a:extLst>
                  <a:ext uri="{FF2B5EF4-FFF2-40B4-BE49-F238E27FC236}">
                    <a16:creationId xmlns:a16="http://schemas.microsoft.com/office/drawing/2014/main" id="{BA1E1865-17D2-4534-A413-09ED7C7726F8}"/>
                  </a:ext>
                </a:extLst>
              </p:cNvPr>
              <p:cNvSpPr>
                <a:spLocks noChangeAspect="1"/>
              </p:cNvSpPr>
              <p:nvPr/>
            </p:nvSpPr>
            <p:spPr bwMode="gray">
              <a:xfrm>
                <a:off x="5296692" y="4153247"/>
                <a:ext cx="20638" cy="28575"/>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7" name="Freeform 130">
                <a:extLst>
                  <a:ext uri="{FF2B5EF4-FFF2-40B4-BE49-F238E27FC236}">
                    <a16:creationId xmlns:a16="http://schemas.microsoft.com/office/drawing/2014/main" id="{D14FFEB3-2570-499D-9B7B-F8717F6F629E}"/>
                  </a:ext>
                </a:extLst>
              </p:cNvPr>
              <p:cNvSpPr>
                <a:spLocks noChangeAspect="1"/>
              </p:cNvSpPr>
              <p:nvPr/>
            </p:nvSpPr>
            <p:spPr bwMode="gray">
              <a:xfrm>
                <a:off x="5045867" y="4083397"/>
                <a:ext cx="285750" cy="250825"/>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8" name="Freeform 131">
                <a:extLst>
                  <a:ext uri="{FF2B5EF4-FFF2-40B4-BE49-F238E27FC236}">
                    <a16:creationId xmlns:a16="http://schemas.microsoft.com/office/drawing/2014/main" id="{B1FD276B-CFAC-43AD-907A-DFFA1A8B3070}"/>
                  </a:ext>
                </a:extLst>
              </p:cNvPr>
              <p:cNvSpPr>
                <a:spLocks noChangeAspect="1"/>
              </p:cNvSpPr>
              <p:nvPr/>
            </p:nvSpPr>
            <p:spPr bwMode="gray">
              <a:xfrm>
                <a:off x="5330030" y="3854797"/>
                <a:ext cx="55563" cy="138113"/>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9" name="Freeform 132">
                <a:extLst>
                  <a:ext uri="{FF2B5EF4-FFF2-40B4-BE49-F238E27FC236}">
                    <a16:creationId xmlns:a16="http://schemas.microsoft.com/office/drawing/2014/main" id="{F424C646-1E34-4565-96EB-F1B742DA1FA3}"/>
                  </a:ext>
                </a:extLst>
              </p:cNvPr>
              <p:cNvSpPr>
                <a:spLocks noChangeAspect="1"/>
              </p:cNvSpPr>
              <p:nvPr/>
            </p:nvSpPr>
            <p:spPr bwMode="gray">
              <a:xfrm>
                <a:off x="5511005" y="3904009"/>
                <a:ext cx="123825" cy="247650"/>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40" name="Group 739">
                <a:extLst>
                  <a:ext uri="{FF2B5EF4-FFF2-40B4-BE49-F238E27FC236}">
                    <a16:creationId xmlns:a16="http://schemas.microsoft.com/office/drawing/2014/main" id="{36D94205-4A42-4A3A-ABEF-810B21A55082}"/>
                  </a:ext>
                </a:extLst>
              </p:cNvPr>
              <p:cNvGrpSpPr>
                <a:grpSpLocks noChangeAspect="1"/>
              </p:cNvGrpSpPr>
              <p:nvPr/>
            </p:nvGrpSpPr>
            <p:grpSpPr bwMode="gray">
              <a:xfrm>
                <a:off x="4961730" y="3769072"/>
                <a:ext cx="219075" cy="239713"/>
                <a:chOff x="2643" y="2535"/>
                <a:chExt cx="138" cy="151"/>
              </a:xfrm>
              <a:grpFill/>
            </p:grpSpPr>
            <p:sp>
              <p:nvSpPr>
                <p:cNvPr id="770" name="Freeform 26">
                  <a:extLst>
                    <a:ext uri="{FF2B5EF4-FFF2-40B4-BE49-F238E27FC236}">
                      <a16:creationId xmlns:a16="http://schemas.microsoft.com/office/drawing/2014/main" id="{8C8F1183-5C6F-4200-9113-C90248DA54B7}"/>
                    </a:ext>
                  </a:extLst>
                </p:cNvPr>
                <p:cNvSpPr>
                  <a:spLocks noChangeAspect="1"/>
                </p:cNvSpPr>
                <p:nvPr/>
              </p:nvSpPr>
              <p:spPr bwMode="gray">
                <a:xfrm>
                  <a:off x="2643" y="2550"/>
                  <a:ext cx="138" cy="13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1" name="Freeform 27">
                  <a:extLst>
                    <a:ext uri="{FF2B5EF4-FFF2-40B4-BE49-F238E27FC236}">
                      <a16:creationId xmlns:a16="http://schemas.microsoft.com/office/drawing/2014/main" id="{949BA28E-82E7-4315-9B14-EDEAAAE18749}"/>
                    </a:ext>
                  </a:extLst>
                </p:cNvPr>
                <p:cNvSpPr>
                  <a:spLocks noChangeAspect="1"/>
                </p:cNvSpPr>
                <p:nvPr/>
              </p:nvSpPr>
              <p:spPr bwMode="gray">
                <a:xfrm>
                  <a:off x="2647" y="2535"/>
                  <a:ext cx="11" cy="16"/>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41" name="Freeform 28">
                <a:extLst>
                  <a:ext uri="{FF2B5EF4-FFF2-40B4-BE49-F238E27FC236}">
                    <a16:creationId xmlns:a16="http://schemas.microsoft.com/office/drawing/2014/main" id="{23FE3B94-1C2B-4A35-8895-90F6D9B59E9E}"/>
                  </a:ext>
                </a:extLst>
              </p:cNvPr>
              <p:cNvSpPr>
                <a:spLocks noChangeAspect="1"/>
              </p:cNvSpPr>
              <p:nvPr/>
            </p:nvSpPr>
            <p:spPr bwMode="gray">
              <a:xfrm>
                <a:off x="5231605" y="4207222"/>
                <a:ext cx="39688" cy="41275"/>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2" name="Freeform 29">
                <a:extLst>
                  <a:ext uri="{FF2B5EF4-FFF2-40B4-BE49-F238E27FC236}">
                    <a16:creationId xmlns:a16="http://schemas.microsoft.com/office/drawing/2014/main" id="{0640102F-7F0D-4A6A-BD7B-805B6806606E}"/>
                  </a:ext>
                </a:extLst>
              </p:cNvPr>
              <p:cNvSpPr>
                <a:spLocks noChangeAspect="1"/>
              </p:cNvSpPr>
              <p:nvPr/>
            </p:nvSpPr>
            <p:spPr bwMode="gray">
              <a:xfrm>
                <a:off x="5142705" y="3834159"/>
                <a:ext cx="203200" cy="174625"/>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3" name="Freeform 30">
                <a:extLst>
                  <a:ext uri="{FF2B5EF4-FFF2-40B4-BE49-F238E27FC236}">
                    <a16:creationId xmlns:a16="http://schemas.microsoft.com/office/drawing/2014/main" id="{9C675B59-8693-48CC-91D8-E2011FAFCCA4}"/>
                  </a:ext>
                </a:extLst>
              </p:cNvPr>
              <p:cNvSpPr>
                <a:spLocks noChangeAspect="1"/>
              </p:cNvSpPr>
              <p:nvPr/>
            </p:nvSpPr>
            <p:spPr bwMode="gray">
              <a:xfrm>
                <a:off x="5198267" y="3965922"/>
                <a:ext cx="134938" cy="128588"/>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4" name="Freeform 31">
                <a:extLst>
                  <a:ext uri="{FF2B5EF4-FFF2-40B4-BE49-F238E27FC236}">
                    <a16:creationId xmlns:a16="http://schemas.microsoft.com/office/drawing/2014/main" id="{3CBC5336-A18F-4643-A7FC-8CDC28E983FA}"/>
                  </a:ext>
                </a:extLst>
              </p:cNvPr>
              <p:cNvSpPr>
                <a:spLocks noChangeAspect="1"/>
              </p:cNvSpPr>
              <p:nvPr/>
            </p:nvSpPr>
            <p:spPr bwMode="gray">
              <a:xfrm>
                <a:off x="4961730" y="3988147"/>
                <a:ext cx="233363" cy="230188"/>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5" name="Freeform 32">
                <a:extLst>
                  <a:ext uri="{FF2B5EF4-FFF2-40B4-BE49-F238E27FC236}">
                    <a16:creationId xmlns:a16="http://schemas.microsoft.com/office/drawing/2014/main" id="{D4F943FB-356A-4824-8923-2E2CDBF2D717}"/>
                  </a:ext>
                </a:extLst>
              </p:cNvPr>
              <p:cNvSpPr>
                <a:spLocks noChangeAspect="1"/>
              </p:cNvSpPr>
              <p:nvPr/>
            </p:nvSpPr>
            <p:spPr bwMode="gray">
              <a:xfrm>
                <a:off x="5282405" y="3875434"/>
                <a:ext cx="185738" cy="296863"/>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6" name="Freeform 33">
                <a:extLst>
                  <a:ext uri="{FF2B5EF4-FFF2-40B4-BE49-F238E27FC236}">
                    <a16:creationId xmlns:a16="http://schemas.microsoft.com/office/drawing/2014/main" id="{45B57509-955E-4F70-AB1C-4D9DF119CCAE}"/>
                  </a:ext>
                </a:extLst>
              </p:cNvPr>
              <p:cNvSpPr>
                <a:spLocks noChangeAspect="1"/>
              </p:cNvSpPr>
              <p:nvPr/>
            </p:nvSpPr>
            <p:spPr bwMode="gray">
              <a:xfrm>
                <a:off x="5104605" y="4004022"/>
                <a:ext cx="165100" cy="16986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7" name="Freeform 34">
                <a:extLst>
                  <a:ext uri="{FF2B5EF4-FFF2-40B4-BE49-F238E27FC236}">
                    <a16:creationId xmlns:a16="http://schemas.microsoft.com/office/drawing/2014/main" id="{8E26C5F5-7E05-42CC-9EB8-8C563EF86423}"/>
                  </a:ext>
                </a:extLst>
              </p:cNvPr>
              <p:cNvSpPr>
                <a:spLocks noChangeAspect="1"/>
              </p:cNvSpPr>
              <p:nvPr/>
            </p:nvSpPr>
            <p:spPr bwMode="gray">
              <a:xfrm>
                <a:off x="4498181" y="3470622"/>
                <a:ext cx="128588" cy="96838"/>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8" name="Freeform 35">
                <a:extLst>
                  <a:ext uri="{FF2B5EF4-FFF2-40B4-BE49-F238E27FC236}">
                    <a16:creationId xmlns:a16="http://schemas.microsoft.com/office/drawing/2014/main" id="{67F6703C-DAA6-418A-B83B-E74E5C7903ED}"/>
                  </a:ext>
                </a:extLst>
              </p:cNvPr>
              <p:cNvSpPr>
                <a:spLocks noChangeAspect="1"/>
              </p:cNvSpPr>
              <p:nvPr/>
            </p:nvSpPr>
            <p:spPr bwMode="gray">
              <a:xfrm>
                <a:off x="5010942" y="3499197"/>
                <a:ext cx="228600" cy="144463"/>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9" name="Freeform 36">
                <a:extLst>
                  <a:ext uri="{FF2B5EF4-FFF2-40B4-BE49-F238E27FC236}">
                    <a16:creationId xmlns:a16="http://schemas.microsoft.com/office/drawing/2014/main" id="{4F6003E8-BABE-4499-9815-4D3B76B31C2F}"/>
                  </a:ext>
                </a:extLst>
              </p:cNvPr>
              <p:cNvSpPr>
                <a:spLocks noChangeAspect="1"/>
              </p:cNvSpPr>
              <p:nvPr/>
            </p:nvSpPr>
            <p:spPr bwMode="gray">
              <a:xfrm>
                <a:off x="4912518" y="3651597"/>
                <a:ext cx="96838" cy="109538"/>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0" name="Freeform 37">
                <a:extLst>
                  <a:ext uri="{FF2B5EF4-FFF2-40B4-BE49-F238E27FC236}">
                    <a16:creationId xmlns:a16="http://schemas.microsoft.com/office/drawing/2014/main" id="{91BCEFD5-8E4E-4131-A1DA-A364A445B664}"/>
                  </a:ext>
                </a:extLst>
              </p:cNvPr>
              <p:cNvSpPr>
                <a:spLocks noChangeAspect="1"/>
              </p:cNvSpPr>
              <p:nvPr/>
            </p:nvSpPr>
            <p:spPr bwMode="gray">
              <a:xfrm>
                <a:off x="4466431" y="3449984"/>
                <a:ext cx="53975" cy="14288"/>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1" name="Freeform 38">
                <a:extLst>
                  <a:ext uri="{FF2B5EF4-FFF2-40B4-BE49-F238E27FC236}">
                    <a16:creationId xmlns:a16="http://schemas.microsoft.com/office/drawing/2014/main" id="{6D387E90-DD90-42C1-8638-C74AFBF667EB}"/>
                  </a:ext>
                </a:extLst>
              </p:cNvPr>
              <p:cNvSpPr>
                <a:spLocks noChangeAspect="1"/>
              </p:cNvSpPr>
              <p:nvPr/>
            </p:nvSpPr>
            <p:spPr bwMode="gray">
              <a:xfrm>
                <a:off x="4468018" y="3470622"/>
                <a:ext cx="55563" cy="30163"/>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2" name="Freeform 39">
                <a:extLst>
                  <a:ext uri="{FF2B5EF4-FFF2-40B4-BE49-F238E27FC236}">
                    <a16:creationId xmlns:a16="http://schemas.microsoft.com/office/drawing/2014/main" id="{627B8456-9F09-421D-9131-138BB27AC56F}"/>
                  </a:ext>
                </a:extLst>
              </p:cNvPr>
              <p:cNvSpPr>
                <a:spLocks noChangeAspect="1"/>
              </p:cNvSpPr>
              <p:nvPr/>
            </p:nvSpPr>
            <p:spPr bwMode="gray">
              <a:xfrm>
                <a:off x="4560093" y="3543647"/>
                <a:ext cx="71438" cy="73025"/>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3" name="Freeform 40">
                <a:extLst>
                  <a:ext uri="{FF2B5EF4-FFF2-40B4-BE49-F238E27FC236}">
                    <a16:creationId xmlns:a16="http://schemas.microsoft.com/office/drawing/2014/main" id="{3FD43B8B-B012-41B6-9339-CA819D2414F7}"/>
                  </a:ext>
                </a:extLst>
              </p:cNvPr>
              <p:cNvSpPr>
                <a:spLocks noChangeAspect="1"/>
              </p:cNvSpPr>
              <p:nvPr/>
            </p:nvSpPr>
            <p:spPr bwMode="gray">
              <a:xfrm>
                <a:off x="4806156" y="3449984"/>
                <a:ext cx="204788" cy="16986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4" name="Freeform 41">
                <a:extLst>
                  <a:ext uri="{FF2B5EF4-FFF2-40B4-BE49-F238E27FC236}">
                    <a16:creationId xmlns:a16="http://schemas.microsoft.com/office/drawing/2014/main" id="{34E9CB46-9E79-4563-8C17-CCEADCBA3328}"/>
                  </a:ext>
                </a:extLst>
              </p:cNvPr>
              <p:cNvSpPr>
                <a:spLocks noChangeAspect="1"/>
              </p:cNvSpPr>
              <p:nvPr/>
            </p:nvSpPr>
            <p:spPr bwMode="gray">
              <a:xfrm>
                <a:off x="4952206" y="3627784"/>
                <a:ext cx="133350" cy="152400"/>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5" name="Freeform 42">
                <a:extLst>
                  <a:ext uri="{FF2B5EF4-FFF2-40B4-BE49-F238E27FC236}">
                    <a16:creationId xmlns:a16="http://schemas.microsoft.com/office/drawing/2014/main" id="{9D9BFAD5-AF82-4F67-884D-AD50E34972F3}"/>
                  </a:ext>
                </a:extLst>
              </p:cNvPr>
              <p:cNvSpPr>
                <a:spLocks noChangeAspect="1"/>
              </p:cNvSpPr>
              <p:nvPr/>
            </p:nvSpPr>
            <p:spPr bwMode="gray">
              <a:xfrm>
                <a:off x="4922043" y="3653184"/>
                <a:ext cx="33338" cy="22225"/>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6" name="Freeform 43">
                <a:extLst>
                  <a:ext uri="{FF2B5EF4-FFF2-40B4-BE49-F238E27FC236}">
                    <a16:creationId xmlns:a16="http://schemas.microsoft.com/office/drawing/2014/main" id="{8819AD26-12E8-4B06-9BBA-3932CD835918}"/>
                  </a:ext>
                </a:extLst>
              </p:cNvPr>
              <p:cNvSpPr>
                <a:spLocks noChangeAspect="1"/>
              </p:cNvSpPr>
              <p:nvPr/>
            </p:nvSpPr>
            <p:spPr bwMode="gray">
              <a:xfrm>
                <a:off x="5268117" y="3732559"/>
                <a:ext cx="28575" cy="34925"/>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7" name="Freeform 44">
                <a:extLst>
                  <a:ext uri="{FF2B5EF4-FFF2-40B4-BE49-F238E27FC236}">
                    <a16:creationId xmlns:a16="http://schemas.microsoft.com/office/drawing/2014/main" id="{E282582E-CE4D-4A02-A3DA-9F101A7254A9}"/>
                  </a:ext>
                </a:extLst>
              </p:cNvPr>
              <p:cNvSpPr>
                <a:spLocks noChangeAspect="1"/>
              </p:cNvSpPr>
              <p:nvPr/>
            </p:nvSpPr>
            <p:spPr bwMode="gray">
              <a:xfrm>
                <a:off x="5277642" y="3619847"/>
                <a:ext cx="92075" cy="96838"/>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8" name="Freeform 45">
                <a:extLst>
                  <a:ext uri="{FF2B5EF4-FFF2-40B4-BE49-F238E27FC236}">
                    <a16:creationId xmlns:a16="http://schemas.microsoft.com/office/drawing/2014/main" id="{F7276073-CAE4-434C-BE8E-9A9C7E8EF39B}"/>
                  </a:ext>
                </a:extLst>
              </p:cNvPr>
              <p:cNvSpPr>
                <a:spLocks noChangeAspect="1"/>
              </p:cNvSpPr>
              <p:nvPr/>
            </p:nvSpPr>
            <p:spPr bwMode="gray">
              <a:xfrm>
                <a:off x="5264942" y="3710334"/>
                <a:ext cx="33338" cy="30163"/>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9" name="Freeform 46">
                <a:extLst>
                  <a:ext uri="{FF2B5EF4-FFF2-40B4-BE49-F238E27FC236}">
                    <a16:creationId xmlns:a16="http://schemas.microsoft.com/office/drawing/2014/main" id="{B22C83B5-5D13-4F69-975E-F0BE6A3D01FA}"/>
                  </a:ext>
                </a:extLst>
              </p:cNvPr>
              <p:cNvSpPr>
                <a:spLocks noChangeAspect="1"/>
              </p:cNvSpPr>
              <p:nvPr/>
            </p:nvSpPr>
            <p:spPr bwMode="gray">
              <a:xfrm>
                <a:off x="5350667" y="3611909"/>
                <a:ext cx="138113" cy="160338"/>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0" name="Freeform 47">
                <a:extLst>
                  <a:ext uri="{FF2B5EF4-FFF2-40B4-BE49-F238E27FC236}">
                    <a16:creationId xmlns:a16="http://schemas.microsoft.com/office/drawing/2014/main" id="{E1F64E1F-4901-4AE8-9DBD-3FE13669A403}"/>
                  </a:ext>
                </a:extLst>
              </p:cNvPr>
              <p:cNvSpPr>
                <a:spLocks noChangeAspect="1"/>
              </p:cNvSpPr>
              <p:nvPr/>
            </p:nvSpPr>
            <p:spPr bwMode="gray">
              <a:xfrm>
                <a:off x="4455318" y="3399184"/>
                <a:ext cx="107950" cy="7778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1" name="Freeform 48">
                <a:extLst>
                  <a:ext uri="{FF2B5EF4-FFF2-40B4-BE49-F238E27FC236}">
                    <a16:creationId xmlns:a16="http://schemas.microsoft.com/office/drawing/2014/main" id="{F2044CB8-E982-43C6-A8E6-1C8B32D16664}"/>
                  </a:ext>
                </a:extLst>
              </p:cNvPr>
              <p:cNvSpPr>
                <a:spLocks noChangeAspect="1"/>
              </p:cNvSpPr>
              <p:nvPr/>
            </p:nvSpPr>
            <p:spPr bwMode="gray">
              <a:xfrm>
                <a:off x="5276055" y="3708747"/>
                <a:ext cx="190500" cy="18732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2" name="Freeform 49">
                <a:extLst>
                  <a:ext uri="{FF2B5EF4-FFF2-40B4-BE49-F238E27FC236}">
                    <a16:creationId xmlns:a16="http://schemas.microsoft.com/office/drawing/2014/main" id="{53939B19-4AE6-4231-8283-FD98B5912BB5}"/>
                  </a:ext>
                </a:extLst>
              </p:cNvPr>
              <p:cNvSpPr>
                <a:spLocks noChangeAspect="1"/>
              </p:cNvSpPr>
              <p:nvPr/>
            </p:nvSpPr>
            <p:spPr bwMode="gray">
              <a:xfrm>
                <a:off x="4528343" y="3518247"/>
                <a:ext cx="52388" cy="52388"/>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3" name="Freeform 50">
                <a:extLst>
                  <a:ext uri="{FF2B5EF4-FFF2-40B4-BE49-F238E27FC236}">
                    <a16:creationId xmlns:a16="http://schemas.microsoft.com/office/drawing/2014/main" id="{A71E3181-8169-47B2-9B72-73D00CE21456}"/>
                  </a:ext>
                </a:extLst>
              </p:cNvPr>
              <p:cNvSpPr>
                <a:spLocks noChangeAspect="1"/>
              </p:cNvSpPr>
              <p:nvPr/>
            </p:nvSpPr>
            <p:spPr bwMode="gray">
              <a:xfrm>
                <a:off x="4610893" y="3505547"/>
                <a:ext cx="106363" cy="111125"/>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4" name="Freeform 51">
                <a:extLst>
                  <a:ext uri="{FF2B5EF4-FFF2-40B4-BE49-F238E27FC236}">
                    <a16:creationId xmlns:a16="http://schemas.microsoft.com/office/drawing/2014/main" id="{233B2B4E-B164-4DDC-9CAB-87020EA85F77}"/>
                  </a:ext>
                </a:extLst>
              </p:cNvPr>
              <p:cNvSpPr>
                <a:spLocks noChangeAspect="1"/>
              </p:cNvSpPr>
              <p:nvPr/>
            </p:nvSpPr>
            <p:spPr bwMode="gray">
              <a:xfrm>
                <a:off x="4756943" y="3497609"/>
                <a:ext cx="38100" cy="90488"/>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5" name="Freeform 52">
                <a:extLst>
                  <a:ext uri="{FF2B5EF4-FFF2-40B4-BE49-F238E27FC236}">
                    <a16:creationId xmlns:a16="http://schemas.microsoft.com/office/drawing/2014/main" id="{3CBD079D-1E51-44A1-9617-F14576AFACA6}"/>
                  </a:ext>
                </a:extLst>
              </p:cNvPr>
              <p:cNvSpPr>
                <a:spLocks noChangeAspect="1"/>
              </p:cNvSpPr>
              <p:nvPr/>
            </p:nvSpPr>
            <p:spPr bwMode="gray">
              <a:xfrm>
                <a:off x="4972842" y="3600797"/>
                <a:ext cx="331788" cy="323850"/>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6" name="Freeform 134">
                <a:extLst>
                  <a:ext uri="{FF2B5EF4-FFF2-40B4-BE49-F238E27FC236}">
                    <a16:creationId xmlns:a16="http://schemas.microsoft.com/office/drawing/2014/main" id="{921AA3E2-A09A-4A01-B66E-FE69F0A84D0B}"/>
                  </a:ext>
                </a:extLst>
              </p:cNvPr>
              <p:cNvSpPr>
                <a:spLocks noChangeAspect="1"/>
              </p:cNvSpPr>
              <p:nvPr/>
            </p:nvSpPr>
            <p:spPr bwMode="gray">
              <a:xfrm>
                <a:off x="5488780" y="3469034"/>
                <a:ext cx="25400" cy="33338"/>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67" name="Group 766">
                <a:extLst>
                  <a:ext uri="{FF2B5EF4-FFF2-40B4-BE49-F238E27FC236}">
                    <a16:creationId xmlns:a16="http://schemas.microsoft.com/office/drawing/2014/main" id="{7E28ED83-BACE-4948-B29C-EE269AB93CB8}"/>
                  </a:ext>
                </a:extLst>
              </p:cNvPr>
              <p:cNvGrpSpPr>
                <a:grpSpLocks noChangeAspect="1"/>
              </p:cNvGrpSpPr>
              <p:nvPr/>
            </p:nvGrpSpPr>
            <p:grpSpPr bwMode="gray">
              <a:xfrm>
                <a:off x="5141117" y="3280172"/>
                <a:ext cx="289379" cy="349201"/>
                <a:chOff x="3548063" y="12700"/>
                <a:chExt cx="5667375" cy="6838950"/>
              </a:xfrm>
              <a:grpFill/>
            </p:grpSpPr>
            <p:sp>
              <p:nvSpPr>
                <p:cNvPr id="768" name="Freeform 6">
                  <a:extLst>
                    <a:ext uri="{FF2B5EF4-FFF2-40B4-BE49-F238E27FC236}">
                      <a16:creationId xmlns:a16="http://schemas.microsoft.com/office/drawing/2014/main" id="{9A850D3E-D97C-4BD3-A029-74AC448F0656}"/>
                    </a:ext>
                  </a:extLst>
                </p:cNvPr>
                <p:cNvSpPr>
                  <a:spLocks/>
                </p:cNvSpPr>
                <p:nvPr/>
              </p:nvSpPr>
              <p:spPr bwMode="gray">
                <a:xfrm>
                  <a:off x="4084638" y="3873500"/>
                  <a:ext cx="4257675" cy="2978150"/>
                </a:xfrm>
                <a:custGeom>
                  <a:avLst/>
                  <a:gdLst/>
                  <a:ahLst/>
                  <a:cxnLst>
                    <a:cxn ang="0">
                      <a:pos x="48" y="773"/>
                    </a:cxn>
                    <a:cxn ang="0">
                      <a:pos x="161" y="852"/>
                    </a:cxn>
                    <a:cxn ang="0">
                      <a:pos x="327" y="893"/>
                    </a:cxn>
                    <a:cxn ang="0">
                      <a:pos x="367" y="981"/>
                    </a:cxn>
                    <a:cxn ang="0">
                      <a:pos x="535" y="1117"/>
                    </a:cxn>
                    <a:cxn ang="0">
                      <a:pos x="626" y="1220"/>
                    </a:cxn>
                    <a:cxn ang="0">
                      <a:pos x="678" y="1341"/>
                    </a:cxn>
                    <a:cxn ang="0">
                      <a:pos x="854" y="1468"/>
                    </a:cxn>
                    <a:cxn ang="0">
                      <a:pos x="909" y="1581"/>
                    </a:cxn>
                    <a:cxn ang="0">
                      <a:pos x="1000" y="1688"/>
                    </a:cxn>
                    <a:cxn ang="0">
                      <a:pos x="1141" y="1680"/>
                    </a:cxn>
                    <a:cxn ang="0">
                      <a:pos x="1339" y="1660"/>
                    </a:cxn>
                    <a:cxn ang="0">
                      <a:pos x="1531" y="1816"/>
                    </a:cxn>
                    <a:cxn ang="0">
                      <a:pos x="1614" y="1872"/>
                    </a:cxn>
                    <a:cxn ang="0">
                      <a:pos x="1741" y="1860"/>
                    </a:cxn>
                    <a:cxn ang="0">
                      <a:pos x="1850" y="1876"/>
                    </a:cxn>
                    <a:cxn ang="0">
                      <a:pos x="2024" y="1836"/>
                    </a:cxn>
                    <a:cxn ang="0">
                      <a:pos x="2268" y="1775"/>
                    </a:cxn>
                    <a:cxn ang="0">
                      <a:pos x="2420" y="1664"/>
                    </a:cxn>
                    <a:cxn ang="0">
                      <a:pos x="2674" y="1664"/>
                    </a:cxn>
                    <a:cxn ang="0">
                      <a:pos x="2678" y="1511"/>
                    </a:cxn>
                    <a:cxn ang="0">
                      <a:pos x="2523" y="1448"/>
                    </a:cxn>
                    <a:cxn ang="0">
                      <a:pos x="2444" y="1260"/>
                    </a:cxn>
                    <a:cxn ang="0">
                      <a:pos x="2311" y="1137"/>
                    </a:cxn>
                    <a:cxn ang="0">
                      <a:pos x="2248" y="1028"/>
                    </a:cxn>
                    <a:cxn ang="0">
                      <a:pos x="2137" y="1000"/>
                    </a:cxn>
                    <a:cxn ang="0">
                      <a:pos x="2060" y="957"/>
                    </a:cxn>
                    <a:cxn ang="0">
                      <a:pos x="2101" y="852"/>
                    </a:cxn>
                    <a:cxn ang="0">
                      <a:pos x="2272" y="824"/>
                    </a:cxn>
                    <a:cxn ang="0">
                      <a:pos x="2307" y="608"/>
                    </a:cxn>
                    <a:cxn ang="0">
                      <a:pos x="2284" y="481"/>
                    </a:cxn>
                    <a:cxn ang="0">
                      <a:pos x="2115" y="123"/>
                    </a:cxn>
                    <a:cxn ang="0">
                      <a:pos x="2020" y="60"/>
                    </a:cxn>
                    <a:cxn ang="0">
                      <a:pos x="1947" y="254"/>
                    </a:cxn>
                    <a:cxn ang="0">
                      <a:pos x="1713" y="551"/>
                    </a:cxn>
                    <a:cxn ang="0">
                      <a:pos x="1412" y="428"/>
                    </a:cxn>
                    <a:cxn ang="0">
                      <a:pos x="1222" y="561"/>
                    </a:cxn>
                    <a:cxn ang="0">
                      <a:pos x="965" y="586"/>
                    </a:cxn>
                    <a:cxn ang="0">
                      <a:pos x="632" y="598"/>
                    </a:cxn>
                    <a:cxn ang="0">
                      <a:pos x="521" y="408"/>
                    </a:cxn>
                    <a:cxn ang="0">
                      <a:pos x="299" y="555"/>
                    </a:cxn>
                    <a:cxn ang="0">
                      <a:pos x="18" y="583"/>
                    </a:cxn>
                  </a:cxnLst>
                  <a:rect l="0" t="0" r="r" b="b"/>
                  <a:pathLst>
                    <a:path w="2682" h="1876">
                      <a:moveTo>
                        <a:pt x="0" y="682"/>
                      </a:moveTo>
                      <a:lnTo>
                        <a:pt x="8" y="733"/>
                      </a:lnTo>
                      <a:lnTo>
                        <a:pt x="48" y="773"/>
                      </a:lnTo>
                      <a:lnTo>
                        <a:pt x="92" y="777"/>
                      </a:lnTo>
                      <a:lnTo>
                        <a:pt x="143" y="792"/>
                      </a:lnTo>
                      <a:lnTo>
                        <a:pt x="161" y="852"/>
                      </a:lnTo>
                      <a:lnTo>
                        <a:pt x="204" y="866"/>
                      </a:lnTo>
                      <a:lnTo>
                        <a:pt x="296" y="866"/>
                      </a:lnTo>
                      <a:lnTo>
                        <a:pt x="327" y="893"/>
                      </a:lnTo>
                      <a:lnTo>
                        <a:pt x="367" y="921"/>
                      </a:lnTo>
                      <a:lnTo>
                        <a:pt x="371" y="941"/>
                      </a:lnTo>
                      <a:lnTo>
                        <a:pt x="367" y="981"/>
                      </a:lnTo>
                      <a:lnTo>
                        <a:pt x="391" y="1024"/>
                      </a:lnTo>
                      <a:lnTo>
                        <a:pt x="466" y="1072"/>
                      </a:lnTo>
                      <a:lnTo>
                        <a:pt x="535" y="1117"/>
                      </a:lnTo>
                      <a:lnTo>
                        <a:pt x="563" y="1157"/>
                      </a:lnTo>
                      <a:lnTo>
                        <a:pt x="606" y="1181"/>
                      </a:lnTo>
                      <a:lnTo>
                        <a:pt x="626" y="1220"/>
                      </a:lnTo>
                      <a:lnTo>
                        <a:pt x="642" y="1264"/>
                      </a:lnTo>
                      <a:lnTo>
                        <a:pt x="670" y="1300"/>
                      </a:lnTo>
                      <a:lnTo>
                        <a:pt x="678" y="1341"/>
                      </a:lnTo>
                      <a:lnTo>
                        <a:pt x="713" y="1353"/>
                      </a:lnTo>
                      <a:lnTo>
                        <a:pt x="830" y="1432"/>
                      </a:lnTo>
                      <a:lnTo>
                        <a:pt x="854" y="1468"/>
                      </a:lnTo>
                      <a:lnTo>
                        <a:pt x="858" y="1511"/>
                      </a:lnTo>
                      <a:lnTo>
                        <a:pt x="882" y="1539"/>
                      </a:lnTo>
                      <a:lnTo>
                        <a:pt x="909" y="1581"/>
                      </a:lnTo>
                      <a:lnTo>
                        <a:pt x="957" y="1616"/>
                      </a:lnTo>
                      <a:lnTo>
                        <a:pt x="981" y="1648"/>
                      </a:lnTo>
                      <a:lnTo>
                        <a:pt x="1000" y="1688"/>
                      </a:lnTo>
                      <a:lnTo>
                        <a:pt x="1092" y="1723"/>
                      </a:lnTo>
                      <a:lnTo>
                        <a:pt x="1115" y="1712"/>
                      </a:lnTo>
                      <a:lnTo>
                        <a:pt x="1141" y="1680"/>
                      </a:lnTo>
                      <a:lnTo>
                        <a:pt x="1248" y="1704"/>
                      </a:lnTo>
                      <a:lnTo>
                        <a:pt x="1292" y="1700"/>
                      </a:lnTo>
                      <a:lnTo>
                        <a:pt x="1339" y="1660"/>
                      </a:lnTo>
                      <a:lnTo>
                        <a:pt x="1383" y="1684"/>
                      </a:lnTo>
                      <a:lnTo>
                        <a:pt x="1476" y="1787"/>
                      </a:lnTo>
                      <a:lnTo>
                        <a:pt x="1531" y="1816"/>
                      </a:lnTo>
                      <a:lnTo>
                        <a:pt x="1567" y="1852"/>
                      </a:lnTo>
                      <a:lnTo>
                        <a:pt x="1591" y="1872"/>
                      </a:lnTo>
                      <a:lnTo>
                        <a:pt x="1614" y="1872"/>
                      </a:lnTo>
                      <a:lnTo>
                        <a:pt x="1642" y="1852"/>
                      </a:lnTo>
                      <a:lnTo>
                        <a:pt x="1697" y="1848"/>
                      </a:lnTo>
                      <a:lnTo>
                        <a:pt x="1741" y="1860"/>
                      </a:lnTo>
                      <a:lnTo>
                        <a:pt x="1779" y="1852"/>
                      </a:lnTo>
                      <a:lnTo>
                        <a:pt x="1826" y="1848"/>
                      </a:lnTo>
                      <a:lnTo>
                        <a:pt x="1850" y="1876"/>
                      </a:lnTo>
                      <a:lnTo>
                        <a:pt x="1917" y="1860"/>
                      </a:lnTo>
                      <a:lnTo>
                        <a:pt x="1973" y="1856"/>
                      </a:lnTo>
                      <a:lnTo>
                        <a:pt x="2024" y="1836"/>
                      </a:lnTo>
                      <a:lnTo>
                        <a:pt x="2086" y="1844"/>
                      </a:lnTo>
                      <a:lnTo>
                        <a:pt x="2161" y="1844"/>
                      </a:lnTo>
                      <a:lnTo>
                        <a:pt x="2268" y="1775"/>
                      </a:lnTo>
                      <a:lnTo>
                        <a:pt x="2331" y="1700"/>
                      </a:lnTo>
                      <a:lnTo>
                        <a:pt x="2379" y="1668"/>
                      </a:lnTo>
                      <a:lnTo>
                        <a:pt x="2420" y="1664"/>
                      </a:lnTo>
                      <a:lnTo>
                        <a:pt x="2539" y="1676"/>
                      </a:lnTo>
                      <a:lnTo>
                        <a:pt x="2591" y="1676"/>
                      </a:lnTo>
                      <a:lnTo>
                        <a:pt x="2674" y="1664"/>
                      </a:lnTo>
                      <a:lnTo>
                        <a:pt x="2678" y="1577"/>
                      </a:lnTo>
                      <a:lnTo>
                        <a:pt x="2682" y="1539"/>
                      </a:lnTo>
                      <a:lnTo>
                        <a:pt x="2678" y="1511"/>
                      </a:lnTo>
                      <a:lnTo>
                        <a:pt x="2650" y="1492"/>
                      </a:lnTo>
                      <a:lnTo>
                        <a:pt x="2555" y="1472"/>
                      </a:lnTo>
                      <a:lnTo>
                        <a:pt x="2523" y="1448"/>
                      </a:lnTo>
                      <a:lnTo>
                        <a:pt x="2503" y="1412"/>
                      </a:lnTo>
                      <a:lnTo>
                        <a:pt x="2464" y="1307"/>
                      </a:lnTo>
                      <a:lnTo>
                        <a:pt x="2444" y="1260"/>
                      </a:lnTo>
                      <a:lnTo>
                        <a:pt x="2424" y="1220"/>
                      </a:lnTo>
                      <a:lnTo>
                        <a:pt x="2339" y="1169"/>
                      </a:lnTo>
                      <a:lnTo>
                        <a:pt x="2311" y="1137"/>
                      </a:lnTo>
                      <a:lnTo>
                        <a:pt x="2288" y="1105"/>
                      </a:lnTo>
                      <a:lnTo>
                        <a:pt x="2280" y="1068"/>
                      </a:lnTo>
                      <a:lnTo>
                        <a:pt x="2248" y="1028"/>
                      </a:lnTo>
                      <a:lnTo>
                        <a:pt x="2212" y="1008"/>
                      </a:lnTo>
                      <a:lnTo>
                        <a:pt x="2169" y="993"/>
                      </a:lnTo>
                      <a:lnTo>
                        <a:pt x="2137" y="1000"/>
                      </a:lnTo>
                      <a:lnTo>
                        <a:pt x="2105" y="973"/>
                      </a:lnTo>
                      <a:lnTo>
                        <a:pt x="2082" y="973"/>
                      </a:lnTo>
                      <a:lnTo>
                        <a:pt x="2060" y="957"/>
                      </a:lnTo>
                      <a:lnTo>
                        <a:pt x="2078" y="925"/>
                      </a:lnTo>
                      <a:lnTo>
                        <a:pt x="2101" y="905"/>
                      </a:lnTo>
                      <a:lnTo>
                        <a:pt x="2101" y="852"/>
                      </a:lnTo>
                      <a:lnTo>
                        <a:pt x="2141" y="836"/>
                      </a:lnTo>
                      <a:lnTo>
                        <a:pt x="2228" y="844"/>
                      </a:lnTo>
                      <a:lnTo>
                        <a:pt x="2272" y="824"/>
                      </a:lnTo>
                      <a:lnTo>
                        <a:pt x="2299" y="800"/>
                      </a:lnTo>
                      <a:lnTo>
                        <a:pt x="2307" y="741"/>
                      </a:lnTo>
                      <a:lnTo>
                        <a:pt x="2307" y="608"/>
                      </a:lnTo>
                      <a:lnTo>
                        <a:pt x="2295" y="608"/>
                      </a:lnTo>
                      <a:lnTo>
                        <a:pt x="2264" y="608"/>
                      </a:lnTo>
                      <a:lnTo>
                        <a:pt x="2284" y="481"/>
                      </a:lnTo>
                      <a:lnTo>
                        <a:pt x="2204" y="371"/>
                      </a:lnTo>
                      <a:lnTo>
                        <a:pt x="2131" y="329"/>
                      </a:lnTo>
                      <a:lnTo>
                        <a:pt x="2115" y="123"/>
                      </a:lnTo>
                      <a:lnTo>
                        <a:pt x="2137" y="16"/>
                      </a:lnTo>
                      <a:lnTo>
                        <a:pt x="2026" y="0"/>
                      </a:lnTo>
                      <a:lnTo>
                        <a:pt x="2020" y="60"/>
                      </a:lnTo>
                      <a:lnTo>
                        <a:pt x="1899" y="79"/>
                      </a:lnTo>
                      <a:lnTo>
                        <a:pt x="1947" y="139"/>
                      </a:lnTo>
                      <a:lnTo>
                        <a:pt x="1947" y="254"/>
                      </a:lnTo>
                      <a:lnTo>
                        <a:pt x="1957" y="285"/>
                      </a:lnTo>
                      <a:lnTo>
                        <a:pt x="1862" y="345"/>
                      </a:lnTo>
                      <a:lnTo>
                        <a:pt x="1713" y="551"/>
                      </a:lnTo>
                      <a:lnTo>
                        <a:pt x="1630" y="571"/>
                      </a:lnTo>
                      <a:lnTo>
                        <a:pt x="1567" y="513"/>
                      </a:lnTo>
                      <a:lnTo>
                        <a:pt x="1412" y="428"/>
                      </a:lnTo>
                      <a:lnTo>
                        <a:pt x="1329" y="466"/>
                      </a:lnTo>
                      <a:lnTo>
                        <a:pt x="1333" y="555"/>
                      </a:lnTo>
                      <a:lnTo>
                        <a:pt x="1222" y="561"/>
                      </a:lnTo>
                      <a:lnTo>
                        <a:pt x="1159" y="630"/>
                      </a:lnTo>
                      <a:lnTo>
                        <a:pt x="1006" y="630"/>
                      </a:lnTo>
                      <a:lnTo>
                        <a:pt x="965" y="586"/>
                      </a:lnTo>
                      <a:lnTo>
                        <a:pt x="795" y="583"/>
                      </a:lnTo>
                      <a:lnTo>
                        <a:pt x="715" y="624"/>
                      </a:lnTo>
                      <a:lnTo>
                        <a:pt x="632" y="598"/>
                      </a:lnTo>
                      <a:lnTo>
                        <a:pt x="610" y="519"/>
                      </a:lnTo>
                      <a:lnTo>
                        <a:pt x="547" y="472"/>
                      </a:lnTo>
                      <a:lnTo>
                        <a:pt x="521" y="408"/>
                      </a:lnTo>
                      <a:lnTo>
                        <a:pt x="357" y="444"/>
                      </a:lnTo>
                      <a:lnTo>
                        <a:pt x="367" y="497"/>
                      </a:lnTo>
                      <a:lnTo>
                        <a:pt x="299" y="555"/>
                      </a:lnTo>
                      <a:lnTo>
                        <a:pt x="204" y="535"/>
                      </a:lnTo>
                      <a:lnTo>
                        <a:pt x="125" y="577"/>
                      </a:lnTo>
                      <a:lnTo>
                        <a:pt x="18" y="583"/>
                      </a:lnTo>
                      <a:lnTo>
                        <a:pt x="8" y="620"/>
                      </a:lnTo>
                      <a:lnTo>
                        <a:pt x="0" y="68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GB" sz="700" dirty="0">
                    <a:solidFill>
                      <a:prstClr val="white"/>
                    </a:solidFill>
                    <a:latin typeface="Arial" panose="020B0604020202020204" pitchFamily="34" charset="0"/>
                  </a:endParaRPr>
                </a:p>
              </p:txBody>
            </p:sp>
            <p:sp>
              <p:nvSpPr>
                <p:cNvPr id="769" name="Freeform 9">
                  <a:extLst>
                    <a:ext uri="{FF2B5EF4-FFF2-40B4-BE49-F238E27FC236}">
                      <a16:creationId xmlns:a16="http://schemas.microsoft.com/office/drawing/2014/main" id="{5FCE9CA1-CD73-4608-8EF8-743D93301514}"/>
                    </a:ext>
                  </a:extLst>
                </p:cNvPr>
                <p:cNvSpPr>
                  <a:spLocks/>
                </p:cNvSpPr>
                <p:nvPr/>
              </p:nvSpPr>
              <p:spPr bwMode="gray">
                <a:xfrm>
                  <a:off x="3548063" y="12700"/>
                  <a:ext cx="5667375" cy="4860925"/>
                </a:xfrm>
                <a:custGeom>
                  <a:avLst/>
                  <a:gdLst/>
                  <a:ahLst/>
                  <a:cxnLst>
                    <a:cxn ang="0">
                      <a:pos x="158" y="2581"/>
                    </a:cxn>
                    <a:cxn ang="0">
                      <a:pos x="200" y="2618"/>
                    </a:cxn>
                    <a:cxn ang="0">
                      <a:pos x="178" y="2702"/>
                    </a:cxn>
                    <a:cxn ang="0">
                      <a:pos x="346" y="2917"/>
                    </a:cxn>
                    <a:cxn ang="0">
                      <a:pos x="463" y="3009"/>
                    </a:cxn>
                    <a:cxn ang="0">
                      <a:pos x="705" y="2929"/>
                    </a:cxn>
                    <a:cxn ang="0">
                      <a:pos x="885" y="2904"/>
                    </a:cxn>
                    <a:cxn ang="0">
                      <a:pos x="1053" y="3056"/>
                    </a:cxn>
                    <a:cxn ang="0">
                      <a:pos x="1344" y="3062"/>
                    </a:cxn>
                    <a:cxn ang="0">
                      <a:pos x="1671" y="2987"/>
                    </a:cxn>
                    <a:cxn ang="0">
                      <a:pos x="1905" y="2945"/>
                    </a:cxn>
                    <a:cxn ang="0">
                      <a:pos x="2200" y="2777"/>
                    </a:cxn>
                    <a:cxn ang="0">
                      <a:pos x="2285" y="2571"/>
                    </a:cxn>
                    <a:cxn ang="0">
                      <a:pos x="2364" y="2432"/>
                    </a:cxn>
                    <a:cxn ang="0">
                      <a:pos x="2469" y="2761"/>
                    </a:cxn>
                    <a:cxn ang="0">
                      <a:pos x="2602" y="3040"/>
                    </a:cxn>
                    <a:cxn ang="0">
                      <a:pos x="2645" y="2997"/>
                    </a:cxn>
                    <a:cxn ang="0">
                      <a:pos x="2661" y="2866"/>
                    </a:cxn>
                    <a:cxn ang="0">
                      <a:pos x="2689" y="2805"/>
                    </a:cxn>
                    <a:cxn ang="0">
                      <a:pos x="2786" y="2737"/>
                    </a:cxn>
                    <a:cxn ang="0">
                      <a:pos x="2845" y="2557"/>
                    </a:cxn>
                    <a:cxn ang="0">
                      <a:pos x="3053" y="2317"/>
                    </a:cxn>
                    <a:cxn ang="0">
                      <a:pos x="3152" y="1998"/>
                    </a:cxn>
                    <a:cxn ang="0">
                      <a:pos x="3156" y="1790"/>
                    </a:cxn>
                    <a:cxn ang="0">
                      <a:pos x="3231" y="1519"/>
                    </a:cxn>
                    <a:cxn ang="0">
                      <a:pos x="3263" y="1371"/>
                    </a:cxn>
                    <a:cxn ang="0">
                      <a:pos x="3368" y="1319"/>
                    </a:cxn>
                    <a:cxn ang="0">
                      <a:pos x="3534" y="1244"/>
                    </a:cxn>
                    <a:cxn ang="0">
                      <a:pos x="3558" y="1115"/>
                    </a:cxn>
                    <a:cxn ang="0">
                      <a:pos x="3507" y="1107"/>
                    </a:cxn>
                    <a:cxn ang="0">
                      <a:pos x="3435" y="1032"/>
                    </a:cxn>
                    <a:cxn ang="0">
                      <a:pos x="3334" y="960"/>
                    </a:cxn>
                    <a:cxn ang="0">
                      <a:pos x="3295" y="616"/>
                    </a:cxn>
                    <a:cxn ang="0">
                      <a:pos x="3291" y="436"/>
                    </a:cxn>
                    <a:cxn ang="0">
                      <a:pos x="3224" y="255"/>
                    </a:cxn>
                    <a:cxn ang="0">
                      <a:pos x="3097" y="121"/>
                    </a:cxn>
                    <a:cxn ang="0">
                      <a:pos x="2948" y="0"/>
                    </a:cxn>
                    <a:cxn ang="0">
                      <a:pos x="2758" y="180"/>
                    </a:cxn>
                    <a:cxn ang="0">
                      <a:pos x="2507" y="313"/>
                    </a:cxn>
                    <a:cxn ang="0">
                      <a:pos x="2075" y="212"/>
                    </a:cxn>
                    <a:cxn ang="0">
                      <a:pos x="2043" y="208"/>
                    </a:cxn>
                    <a:cxn ang="0">
                      <a:pos x="1697" y="255"/>
                    </a:cxn>
                    <a:cxn ang="0">
                      <a:pos x="1083" y="255"/>
                    </a:cxn>
                    <a:cxn ang="0">
                      <a:pos x="669" y="463"/>
                    </a:cxn>
                    <a:cxn ang="0">
                      <a:pos x="465" y="824"/>
                    </a:cxn>
                    <a:cxn ang="0">
                      <a:pos x="465" y="1472"/>
                    </a:cxn>
                    <a:cxn ang="0">
                      <a:pos x="319" y="1668"/>
                    </a:cxn>
                    <a:cxn ang="0">
                      <a:pos x="232" y="1683"/>
                    </a:cxn>
                    <a:cxn ang="0">
                      <a:pos x="200" y="1806"/>
                    </a:cxn>
                    <a:cxn ang="0">
                      <a:pos x="91" y="1994"/>
                    </a:cxn>
                    <a:cxn ang="0">
                      <a:pos x="87" y="2050"/>
                    </a:cxn>
                    <a:cxn ang="0">
                      <a:pos x="36" y="2125"/>
                    </a:cxn>
                    <a:cxn ang="0">
                      <a:pos x="4" y="2258"/>
                    </a:cxn>
                    <a:cxn ang="0">
                      <a:pos x="12" y="2341"/>
                    </a:cxn>
                    <a:cxn ang="0">
                      <a:pos x="91" y="2383"/>
                    </a:cxn>
                  </a:cxnLst>
                  <a:rect l="0" t="0" r="r" b="b"/>
                  <a:pathLst>
                    <a:path w="3570" h="3062">
                      <a:moveTo>
                        <a:pt x="91" y="2383"/>
                      </a:moveTo>
                      <a:lnTo>
                        <a:pt x="111" y="2446"/>
                      </a:lnTo>
                      <a:lnTo>
                        <a:pt x="158" y="2581"/>
                      </a:lnTo>
                      <a:lnTo>
                        <a:pt x="162" y="2589"/>
                      </a:lnTo>
                      <a:lnTo>
                        <a:pt x="188" y="2599"/>
                      </a:lnTo>
                      <a:lnTo>
                        <a:pt x="200" y="2618"/>
                      </a:lnTo>
                      <a:lnTo>
                        <a:pt x="212" y="2654"/>
                      </a:lnTo>
                      <a:lnTo>
                        <a:pt x="212" y="2686"/>
                      </a:lnTo>
                      <a:lnTo>
                        <a:pt x="178" y="2702"/>
                      </a:lnTo>
                      <a:lnTo>
                        <a:pt x="216" y="2761"/>
                      </a:lnTo>
                      <a:lnTo>
                        <a:pt x="283" y="2834"/>
                      </a:lnTo>
                      <a:lnTo>
                        <a:pt x="346" y="2917"/>
                      </a:lnTo>
                      <a:lnTo>
                        <a:pt x="366" y="2981"/>
                      </a:lnTo>
                      <a:lnTo>
                        <a:pt x="356" y="3015"/>
                      </a:lnTo>
                      <a:lnTo>
                        <a:pt x="463" y="3009"/>
                      </a:lnTo>
                      <a:lnTo>
                        <a:pt x="542" y="2967"/>
                      </a:lnTo>
                      <a:lnTo>
                        <a:pt x="637" y="2987"/>
                      </a:lnTo>
                      <a:lnTo>
                        <a:pt x="705" y="2929"/>
                      </a:lnTo>
                      <a:lnTo>
                        <a:pt x="695" y="2876"/>
                      </a:lnTo>
                      <a:lnTo>
                        <a:pt x="859" y="2840"/>
                      </a:lnTo>
                      <a:lnTo>
                        <a:pt x="885" y="2904"/>
                      </a:lnTo>
                      <a:lnTo>
                        <a:pt x="948" y="2951"/>
                      </a:lnTo>
                      <a:lnTo>
                        <a:pt x="970" y="3030"/>
                      </a:lnTo>
                      <a:lnTo>
                        <a:pt x="1053" y="3056"/>
                      </a:lnTo>
                      <a:lnTo>
                        <a:pt x="1133" y="3015"/>
                      </a:lnTo>
                      <a:lnTo>
                        <a:pt x="1303" y="3018"/>
                      </a:lnTo>
                      <a:lnTo>
                        <a:pt x="1344" y="3062"/>
                      </a:lnTo>
                      <a:lnTo>
                        <a:pt x="1497" y="3062"/>
                      </a:lnTo>
                      <a:lnTo>
                        <a:pt x="1560" y="2993"/>
                      </a:lnTo>
                      <a:lnTo>
                        <a:pt x="1671" y="2987"/>
                      </a:lnTo>
                      <a:lnTo>
                        <a:pt x="1667" y="2898"/>
                      </a:lnTo>
                      <a:lnTo>
                        <a:pt x="1750" y="2860"/>
                      </a:lnTo>
                      <a:lnTo>
                        <a:pt x="1905" y="2945"/>
                      </a:lnTo>
                      <a:lnTo>
                        <a:pt x="1968" y="3003"/>
                      </a:lnTo>
                      <a:lnTo>
                        <a:pt x="2051" y="2983"/>
                      </a:lnTo>
                      <a:lnTo>
                        <a:pt x="2200" y="2777"/>
                      </a:lnTo>
                      <a:lnTo>
                        <a:pt x="2295" y="2717"/>
                      </a:lnTo>
                      <a:lnTo>
                        <a:pt x="2285" y="2686"/>
                      </a:lnTo>
                      <a:lnTo>
                        <a:pt x="2285" y="2571"/>
                      </a:lnTo>
                      <a:lnTo>
                        <a:pt x="2237" y="2511"/>
                      </a:lnTo>
                      <a:lnTo>
                        <a:pt x="2358" y="2492"/>
                      </a:lnTo>
                      <a:lnTo>
                        <a:pt x="2364" y="2432"/>
                      </a:lnTo>
                      <a:lnTo>
                        <a:pt x="2475" y="2448"/>
                      </a:lnTo>
                      <a:lnTo>
                        <a:pt x="2453" y="2555"/>
                      </a:lnTo>
                      <a:lnTo>
                        <a:pt x="2469" y="2761"/>
                      </a:lnTo>
                      <a:lnTo>
                        <a:pt x="2542" y="2803"/>
                      </a:lnTo>
                      <a:lnTo>
                        <a:pt x="2622" y="2913"/>
                      </a:lnTo>
                      <a:lnTo>
                        <a:pt x="2602" y="3040"/>
                      </a:lnTo>
                      <a:lnTo>
                        <a:pt x="2633" y="3040"/>
                      </a:lnTo>
                      <a:lnTo>
                        <a:pt x="2645" y="3040"/>
                      </a:lnTo>
                      <a:lnTo>
                        <a:pt x="2645" y="2997"/>
                      </a:lnTo>
                      <a:lnTo>
                        <a:pt x="2661" y="2933"/>
                      </a:lnTo>
                      <a:lnTo>
                        <a:pt x="2669" y="2890"/>
                      </a:lnTo>
                      <a:lnTo>
                        <a:pt x="2661" y="2866"/>
                      </a:lnTo>
                      <a:lnTo>
                        <a:pt x="2661" y="2822"/>
                      </a:lnTo>
                      <a:lnTo>
                        <a:pt x="2677" y="2830"/>
                      </a:lnTo>
                      <a:lnTo>
                        <a:pt x="2689" y="2805"/>
                      </a:lnTo>
                      <a:lnTo>
                        <a:pt x="2717" y="2757"/>
                      </a:lnTo>
                      <a:lnTo>
                        <a:pt x="2742" y="2737"/>
                      </a:lnTo>
                      <a:lnTo>
                        <a:pt x="2786" y="2737"/>
                      </a:lnTo>
                      <a:lnTo>
                        <a:pt x="2806" y="2717"/>
                      </a:lnTo>
                      <a:lnTo>
                        <a:pt x="2826" y="2610"/>
                      </a:lnTo>
                      <a:lnTo>
                        <a:pt x="2845" y="2557"/>
                      </a:lnTo>
                      <a:lnTo>
                        <a:pt x="2984" y="2363"/>
                      </a:lnTo>
                      <a:lnTo>
                        <a:pt x="3020" y="2325"/>
                      </a:lnTo>
                      <a:lnTo>
                        <a:pt x="3053" y="2317"/>
                      </a:lnTo>
                      <a:lnTo>
                        <a:pt x="3081" y="2286"/>
                      </a:lnTo>
                      <a:lnTo>
                        <a:pt x="3152" y="2062"/>
                      </a:lnTo>
                      <a:lnTo>
                        <a:pt x="3152" y="1998"/>
                      </a:lnTo>
                      <a:lnTo>
                        <a:pt x="3140" y="1935"/>
                      </a:lnTo>
                      <a:lnTo>
                        <a:pt x="3140" y="1858"/>
                      </a:lnTo>
                      <a:lnTo>
                        <a:pt x="3156" y="1790"/>
                      </a:lnTo>
                      <a:lnTo>
                        <a:pt x="3184" y="1735"/>
                      </a:lnTo>
                      <a:lnTo>
                        <a:pt x="3220" y="1602"/>
                      </a:lnTo>
                      <a:lnTo>
                        <a:pt x="3231" y="1519"/>
                      </a:lnTo>
                      <a:lnTo>
                        <a:pt x="3231" y="1487"/>
                      </a:lnTo>
                      <a:lnTo>
                        <a:pt x="3247" y="1406"/>
                      </a:lnTo>
                      <a:lnTo>
                        <a:pt x="3263" y="1371"/>
                      </a:lnTo>
                      <a:lnTo>
                        <a:pt x="3315" y="1367"/>
                      </a:lnTo>
                      <a:lnTo>
                        <a:pt x="3350" y="1347"/>
                      </a:lnTo>
                      <a:lnTo>
                        <a:pt x="3368" y="1319"/>
                      </a:lnTo>
                      <a:lnTo>
                        <a:pt x="3451" y="1279"/>
                      </a:lnTo>
                      <a:lnTo>
                        <a:pt x="3483" y="1268"/>
                      </a:lnTo>
                      <a:lnTo>
                        <a:pt x="3534" y="1244"/>
                      </a:lnTo>
                      <a:lnTo>
                        <a:pt x="3562" y="1186"/>
                      </a:lnTo>
                      <a:lnTo>
                        <a:pt x="3570" y="1151"/>
                      </a:lnTo>
                      <a:lnTo>
                        <a:pt x="3558" y="1115"/>
                      </a:lnTo>
                      <a:lnTo>
                        <a:pt x="3538" y="1115"/>
                      </a:lnTo>
                      <a:lnTo>
                        <a:pt x="3527" y="1099"/>
                      </a:lnTo>
                      <a:lnTo>
                        <a:pt x="3507" y="1107"/>
                      </a:lnTo>
                      <a:lnTo>
                        <a:pt x="3491" y="1060"/>
                      </a:lnTo>
                      <a:lnTo>
                        <a:pt x="3463" y="1036"/>
                      </a:lnTo>
                      <a:lnTo>
                        <a:pt x="3435" y="1032"/>
                      </a:lnTo>
                      <a:lnTo>
                        <a:pt x="3376" y="1008"/>
                      </a:lnTo>
                      <a:lnTo>
                        <a:pt x="3354" y="988"/>
                      </a:lnTo>
                      <a:lnTo>
                        <a:pt x="3334" y="960"/>
                      </a:lnTo>
                      <a:lnTo>
                        <a:pt x="3307" y="840"/>
                      </a:lnTo>
                      <a:lnTo>
                        <a:pt x="3295" y="749"/>
                      </a:lnTo>
                      <a:lnTo>
                        <a:pt x="3295" y="616"/>
                      </a:lnTo>
                      <a:lnTo>
                        <a:pt x="3291" y="459"/>
                      </a:lnTo>
                      <a:lnTo>
                        <a:pt x="3303" y="463"/>
                      </a:lnTo>
                      <a:lnTo>
                        <a:pt x="3291" y="436"/>
                      </a:lnTo>
                      <a:lnTo>
                        <a:pt x="3231" y="368"/>
                      </a:lnTo>
                      <a:lnTo>
                        <a:pt x="3228" y="317"/>
                      </a:lnTo>
                      <a:lnTo>
                        <a:pt x="3224" y="255"/>
                      </a:lnTo>
                      <a:lnTo>
                        <a:pt x="3180" y="192"/>
                      </a:lnTo>
                      <a:lnTo>
                        <a:pt x="3140" y="172"/>
                      </a:lnTo>
                      <a:lnTo>
                        <a:pt x="3097" y="121"/>
                      </a:lnTo>
                      <a:lnTo>
                        <a:pt x="3053" y="97"/>
                      </a:lnTo>
                      <a:lnTo>
                        <a:pt x="2996" y="73"/>
                      </a:lnTo>
                      <a:lnTo>
                        <a:pt x="2948" y="0"/>
                      </a:lnTo>
                      <a:lnTo>
                        <a:pt x="2861" y="77"/>
                      </a:lnTo>
                      <a:lnTo>
                        <a:pt x="2806" y="57"/>
                      </a:lnTo>
                      <a:lnTo>
                        <a:pt x="2758" y="180"/>
                      </a:lnTo>
                      <a:lnTo>
                        <a:pt x="2645" y="208"/>
                      </a:lnTo>
                      <a:lnTo>
                        <a:pt x="2614" y="305"/>
                      </a:lnTo>
                      <a:lnTo>
                        <a:pt x="2507" y="313"/>
                      </a:lnTo>
                      <a:lnTo>
                        <a:pt x="2435" y="261"/>
                      </a:lnTo>
                      <a:lnTo>
                        <a:pt x="2055" y="255"/>
                      </a:lnTo>
                      <a:lnTo>
                        <a:pt x="2075" y="212"/>
                      </a:lnTo>
                      <a:lnTo>
                        <a:pt x="2063" y="212"/>
                      </a:lnTo>
                      <a:lnTo>
                        <a:pt x="2055" y="208"/>
                      </a:lnTo>
                      <a:lnTo>
                        <a:pt x="2043" y="208"/>
                      </a:lnTo>
                      <a:lnTo>
                        <a:pt x="2016" y="255"/>
                      </a:lnTo>
                      <a:lnTo>
                        <a:pt x="1905" y="255"/>
                      </a:lnTo>
                      <a:lnTo>
                        <a:pt x="1697" y="255"/>
                      </a:lnTo>
                      <a:lnTo>
                        <a:pt x="1491" y="255"/>
                      </a:lnTo>
                      <a:lnTo>
                        <a:pt x="1283" y="255"/>
                      </a:lnTo>
                      <a:lnTo>
                        <a:pt x="1083" y="255"/>
                      </a:lnTo>
                      <a:lnTo>
                        <a:pt x="877" y="255"/>
                      </a:lnTo>
                      <a:lnTo>
                        <a:pt x="669" y="255"/>
                      </a:lnTo>
                      <a:lnTo>
                        <a:pt x="669" y="463"/>
                      </a:lnTo>
                      <a:lnTo>
                        <a:pt x="669" y="695"/>
                      </a:lnTo>
                      <a:lnTo>
                        <a:pt x="465" y="695"/>
                      </a:lnTo>
                      <a:lnTo>
                        <a:pt x="465" y="824"/>
                      </a:lnTo>
                      <a:lnTo>
                        <a:pt x="465" y="1044"/>
                      </a:lnTo>
                      <a:lnTo>
                        <a:pt x="465" y="1256"/>
                      </a:lnTo>
                      <a:lnTo>
                        <a:pt x="465" y="1472"/>
                      </a:lnTo>
                      <a:lnTo>
                        <a:pt x="457" y="1664"/>
                      </a:lnTo>
                      <a:lnTo>
                        <a:pt x="434" y="1668"/>
                      </a:lnTo>
                      <a:lnTo>
                        <a:pt x="319" y="1668"/>
                      </a:lnTo>
                      <a:lnTo>
                        <a:pt x="283" y="1672"/>
                      </a:lnTo>
                      <a:lnTo>
                        <a:pt x="236" y="1679"/>
                      </a:lnTo>
                      <a:lnTo>
                        <a:pt x="232" y="1683"/>
                      </a:lnTo>
                      <a:lnTo>
                        <a:pt x="220" y="1719"/>
                      </a:lnTo>
                      <a:lnTo>
                        <a:pt x="216" y="1763"/>
                      </a:lnTo>
                      <a:lnTo>
                        <a:pt x="200" y="1806"/>
                      </a:lnTo>
                      <a:lnTo>
                        <a:pt x="154" y="1874"/>
                      </a:lnTo>
                      <a:lnTo>
                        <a:pt x="91" y="1943"/>
                      </a:lnTo>
                      <a:lnTo>
                        <a:pt x="91" y="1994"/>
                      </a:lnTo>
                      <a:lnTo>
                        <a:pt x="95" y="2026"/>
                      </a:lnTo>
                      <a:lnTo>
                        <a:pt x="91" y="2046"/>
                      </a:lnTo>
                      <a:lnTo>
                        <a:pt x="87" y="2050"/>
                      </a:lnTo>
                      <a:lnTo>
                        <a:pt x="55" y="2070"/>
                      </a:lnTo>
                      <a:lnTo>
                        <a:pt x="43" y="2086"/>
                      </a:lnTo>
                      <a:lnTo>
                        <a:pt x="36" y="2125"/>
                      </a:lnTo>
                      <a:lnTo>
                        <a:pt x="36" y="2179"/>
                      </a:lnTo>
                      <a:lnTo>
                        <a:pt x="28" y="2214"/>
                      </a:lnTo>
                      <a:lnTo>
                        <a:pt x="4" y="2258"/>
                      </a:lnTo>
                      <a:lnTo>
                        <a:pt x="0" y="2278"/>
                      </a:lnTo>
                      <a:lnTo>
                        <a:pt x="0" y="2341"/>
                      </a:lnTo>
                      <a:lnTo>
                        <a:pt x="12" y="2341"/>
                      </a:lnTo>
                      <a:lnTo>
                        <a:pt x="32" y="2337"/>
                      </a:lnTo>
                      <a:lnTo>
                        <a:pt x="95" y="2321"/>
                      </a:lnTo>
                      <a:lnTo>
                        <a:pt x="91" y="238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GB" sz="700" dirty="0">
                    <a:solidFill>
                      <a:prstClr val="white"/>
                    </a:solidFill>
                    <a:latin typeface="Arial" panose="020B0604020202020204" pitchFamily="34" charset="0"/>
                  </a:endParaRPr>
                </a:p>
              </p:txBody>
            </p:sp>
          </p:grpSp>
        </p:grpSp>
      </p:grpSp>
      <p:sp>
        <p:nvSpPr>
          <p:cNvPr id="673" name="Freeform 427">
            <a:extLst>
              <a:ext uri="{FF2B5EF4-FFF2-40B4-BE49-F238E27FC236}">
                <a16:creationId xmlns:a16="http://schemas.microsoft.com/office/drawing/2014/main" id="{C9F82C23-8335-42EC-B06B-652C559549F2}"/>
              </a:ext>
            </a:extLst>
          </p:cNvPr>
          <p:cNvSpPr>
            <a:spLocks/>
          </p:cNvSpPr>
          <p:nvPr/>
        </p:nvSpPr>
        <p:spPr bwMode="auto">
          <a:xfrm>
            <a:off x="6409792" y="3801771"/>
            <a:ext cx="729014" cy="684500"/>
          </a:xfrm>
          <a:custGeom>
            <a:avLst/>
            <a:gdLst>
              <a:gd name="T0" fmla="*/ 1231 w 1769"/>
              <a:gd name="T1" fmla="*/ 639 h 1897"/>
              <a:gd name="T2" fmla="*/ 1153 w 1769"/>
              <a:gd name="T3" fmla="*/ 748 h 1897"/>
              <a:gd name="T4" fmla="*/ 1009 w 1769"/>
              <a:gd name="T5" fmla="*/ 707 h 1897"/>
              <a:gd name="T6" fmla="*/ 805 w 1769"/>
              <a:gd name="T7" fmla="*/ 633 h 1897"/>
              <a:gd name="T8" fmla="*/ 732 w 1769"/>
              <a:gd name="T9" fmla="*/ 544 h 1897"/>
              <a:gd name="T10" fmla="*/ 690 w 1769"/>
              <a:gd name="T11" fmla="*/ 439 h 1897"/>
              <a:gd name="T12" fmla="*/ 622 w 1769"/>
              <a:gd name="T13" fmla="*/ 332 h 1897"/>
              <a:gd name="T14" fmla="*/ 690 w 1769"/>
              <a:gd name="T15" fmla="*/ 211 h 1897"/>
              <a:gd name="T16" fmla="*/ 642 w 1769"/>
              <a:gd name="T17" fmla="*/ 85 h 1897"/>
              <a:gd name="T18" fmla="*/ 384 w 1769"/>
              <a:gd name="T19" fmla="*/ 4 h 1897"/>
              <a:gd name="T20" fmla="*/ 299 w 1769"/>
              <a:gd name="T21" fmla="*/ 27 h 1897"/>
              <a:gd name="T22" fmla="*/ 299 w 1769"/>
              <a:gd name="T23" fmla="*/ 87 h 1897"/>
              <a:gd name="T24" fmla="*/ 341 w 1769"/>
              <a:gd name="T25" fmla="*/ 135 h 1897"/>
              <a:gd name="T26" fmla="*/ 351 w 1769"/>
              <a:gd name="T27" fmla="*/ 163 h 1897"/>
              <a:gd name="T28" fmla="*/ 330 w 1769"/>
              <a:gd name="T29" fmla="*/ 241 h 1897"/>
              <a:gd name="T30" fmla="*/ 394 w 1769"/>
              <a:gd name="T31" fmla="*/ 317 h 1897"/>
              <a:gd name="T32" fmla="*/ 379 w 1769"/>
              <a:gd name="T33" fmla="*/ 442 h 1897"/>
              <a:gd name="T34" fmla="*/ 133 w 1769"/>
              <a:gd name="T35" fmla="*/ 641 h 1897"/>
              <a:gd name="T36" fmla="*/ 147 w 1769"/>
              <a:gd name="T37" fmla="*/ 888 h 1897"/>
              <a:gd name="T38" fmla="*/ 3 w 1769"/>
              <a:gd name="T39" fmla="*/ 929 h 1897"/>
              <a:gd name="T40" fmla="*/ 27 w 1769"/>
              <a:gd name="T41" fmla="*/ 949 h 1897"/>
              <a:gd name="T42" fmla="*/ 144 w 1769"/>
              <a:gd name="T43" fmla="*/ 970 h 1897"/>
              <a:gd name="T44" fmla="*/ 54 w 1769"/>
              <a:gd name="T45" fmla="*/ 1007 h 1897"/>
              <a:gd name="T46" fmla="*/ 239 w 1769"/>
              <a:gd name="T47" fmla="*/ 1083 h 1897"/>
              <a:gd name="T48" fmla="*/ 250 w 1769"/>
              <a:gd name="T49" fmla="*/ 1034 h 1897"/>
              <a:gd name="T50" fmla="*/ 276 w 1769"/>
              <a:gd name="T51" fmla="*/ 1038 h 1897"/>
              <a:gd name="T52" fmla="*/ 275 w 1769"/>
              <a:gd name="T53" fmla="*/ 1094 h 1897"/>
              <a:gd name="T54" fmla="*/ 273 w 1769"/>
              <a:gd name="T55" fmla="*/ 1174 h 1897"/>
              <a:gd name="T56" fmla="*/ 280 w 1769"/>
              <a:gd name="T57" fmla="*/ 1230 h 1897"/>
              <a:gd name="T58" fmla="*/ 290 w 1769"/>
              <a:gd name="T59" fmla="*/ 1268 h 1897"/>
              <a:gd name="T60" fmla="*/ 311 w 1769"/>
              <a:gd name="T61" fmla="*/ 1348 h 1897"/>
              <a:gd name="T62" fmla="*/ 333 w 1769"/>
              <a:gd name="T63" fmla="*/ 1427 h 1897"/>
              <a:gd name="T64" fmla="*/ 364 w 1769"/>
              <a:gd name="T65" fmla="*/ 1487 h 1897"/>
              <a:gd name="T66" fmla="*/ 396 w 1769"/>
              <a:gd name="T67" fmla="*/ 1560 h 1897"/>
              <a:gd name="T68" fmla="*/ 437 w 1769"/>
              <a:gd name="T69" fmla="*/ 1669 h 1897"/>
              <a:gd name="T70" fmla="*/ 502 w 1769"/>
              <a:gd name="T71" fmla="*/ 1809 h 1897"/>
              <a:gd name="T72" fmla="*/ 513 w 1769"/>
              <a:gd name="T73" fmla="*/ 1843 h 1897"/>
              <a:gd name="T74" fmla="*/ 680 w 1769"/>
              <a:gd name="T75" fmla="*/ 1828 h 1897"/>
              <a:gd name="T76" fmla="*/ 700 w 1769"/>
              <a:gd name="T77" fmla="*/ 1703 h 1897"/>
              <a:gd name="T78" fmla="*/ 725 w 1769"/>
              <a:gd name="T79" fmla="*/ 1557 h 1897"/>
              <a:gd name="T80" fmla="*/ 766 w 1769"/>
              <a:gd name="T81" fmla="*/ 1421 h 1897"/>
              <a:gd name="T82" fmla="*/ 860 w 1769"/>
              <a:gd name="T83" fmla="*/ 1372 h 1897"/>
              <a:gd name="T84" fmla="*/ 981 w 1769"/>
              <a:gd name="T85" fmla="*/ 1255 h 1897"/>
              <a:gd name="T86" fmla="*/ 1030 w 1769"/>
              <a:gd name="T87" fmla="*/ 1197 h 1897"/>
              <a:gd name="T88" fmla="*/ 1095 w 1769"/>
              <a:gd name="T89" fmla="*/ 1159 h 1897"/>
              <a:gd name="T90" fmla="*/ 1208 w 1769"/>
              <a:gd name="T91" fmla="*/ 1035 h 1897"/>
              <a:gd name="T92" fmla="*/ 1232 w 1769"/>
              <a:gd name="T93" fmla="*/ 1049 h 1897"/>
              <a:gd name="T94" fmla="*/ 1246 w 1769"/>
              <a:gd name="T95" fmla="*/ 1042 h 1897"/>
              <a:gd name="T96" fmla="*/ 1259 w 1769"/>
              <a:gd name="T97" fmla="*/ 993 h 1897"/>
              <a:gd name="T98" fmla="*/ 1240 w 1769"/>
              <a:gd name="T99" fmla="*/ 887 h 1897"/>
              <a:gd name="T100" fmla="*/ 1242 w 1769"/>
              <a:gd name="T101" fmla="*/ 811 h 1897"/>
              <a:gd name="T102" fmla="*/ 1246 w 1769"/>
              <a:gd name="T103" fmla="*/ 755 h 1897"/>
              <a:gd name="T104" fmla="*/ 1303 w 1769"/>
              <a:gd name="T105" fmla="*/ 764 h 1897"/>
              <a:gd name="T106" fmla="*/ 1454 w 1769"/>
              <a:gd name="T107" fmla="*/ 832 h 1897"/>
              <a:gd name="T108" fmla="*/ 1405 w 1769"/>
              <a:gd name="T109" fmla="*/ 907 h 1897"/>
              <a:gd name="T110" fmla="*/ 1432 w 1769"/>
              <a:gd name="T111" fmla="*/ 948 h 1897"/>
              <a:gd name="T112" fmla="*/ 1504 w 1769"/>
              <a:gd name="T113" fmla="*/ 1036 h 1897"/>
              <a:gd name="T114" fmla="*/ 1541 w 1769"/>
              <a:gd name="T115" fmla="*/ 907 h 1897"/>
              <a:gd name="T116" fmla="*/ 1632 w 1769"/>
              <a:gd name="T117" fmla="*/ 763 h 1897"/>
              <a:gd name="T118" fmla="*/ 1752 w 1769"/>
              <a:gd name="T119" fmla="*/ 694 h 1897"/>
              <a:gd name="T120" fmla="*/ 1697 w 1769"/>
              <a:gd name="T121" fmla="*/ 552 h 1897"/>
              <a:gd name="T122" fmla="*/ 1516 w 1769"/>
              <a:gd name="T123" fmla="*/ 607 h 1897"/>
              <a:gd name="T124" fmla="*/ 1444 w 1769"/>
              <a:gd name="T125" fmla="*/ 70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9" h="1897">
                <a:moveTo>
                  <a:pt x="1315" y="726"/>
                </a:moveTo>
                <a:lnTo>
                  <a:pt x="1315" y="726"/>
                </a:lnTo>
                <a:lnTo>
                  <a:pt x="1314" y="726"/>
                </a:lnTo>
                <a:lnTo>
                  <a:pt x="1314" y="726"/>
                </a:lnTo>
                <a:lnTo>
                  <a:pt x="1314" y="726"/>
                </a:lnTo>
                <a:lnTo>
                  <a:pt x="1314" y="726"/>
                </a:lnTo>
                <a:lnTo>
                  <a:pt x="1314" y="726"/>
                </a:lnTo>
                <a:lnTo>
                  <a:pt x="1314" y="728"/>
                </a:lnTo>
                <a:lnTo>
                  <a:pt x="1314" y="728"/>
                </a:lnTo>
                <a:lnTo>
                  <a:pt x="1314" y="728"/>
                </a:lnTo>
                <a:lnTo>
                  <a:pt x="1312" y="728"/>
                </a:lnTo>
                <a:lnTo>
                  <a:pt x="1312" y="728"/>
                </a:lnTo>
                <a:lnTo>
                  <a:pt x="1312" y="729"/>
                </a:lnTo>
                <a:lnTo>
                  <a:pt x="1312" y="729"/>
                </a:lnTo>
                <a:lnTo>
                  <a:pt x="1312" y="729"/>
                </a:lnTo>
                <a:lnTo>
                  <a:pt x="1311" y="729"/>
                </a:lnTo>
                <a:lnTo>
                  <a:pt x="1310" y="729"/>
                </a:lnTo>
                <a:lnTo>
                  <a:pt x="1308" y="728"/>
                </a:lnTo>
                <a:lnTo>
                  <a:pt x="1308" y="728"/>
                </a:lnTo>
                <a:lnTo>
                  <a:pt x="1304" y="726"/>
                </a:lnTo>
                <a:lnTo>
                  <a:pt x="1303" y="726"/>
                </a:lnTo>
                <a:lnTo>
                  <a:pt x="1302" y="728"/>
                </a:lnTo>
                <a:lnTo>
                  <a:pt x="1300" y="728"/>
                </a:lnTo>
                <a:lnTo>
                  <a:pt x="1299" y="728"/>
                </a:lnTo>
                <a:lnTo>
                  <a:pt x="1300" y="725"/>
                </a:lnTo>
                <a:lnTo>
                  <a:pt x="1300" y="724"/>
                </a:lnTo>
                <a:lnTo>
                  <a:pt x="1299" y="722"/>
                </a:lnTo>
                <a:lnTo>
                  <a:pt x="1296" y="722"/>
                </a:lnTo>
                <a:lnTo>
                  <a:pt x="1293" y="721"/>
                </a:lnTo>
                <a:lnTo>
                  <a:pt x="1289" y="722"/>
                </a:lnTo>
                <a:lnTo>
                  <a:pt x="1288" y="721"/>
                </a:lnTo>
                <a:lnTo>
                  <a:pt x="1285" y="720"/>
                </a:lnTo>
                <a:lnTo>
                  <a:pt x="1284" y="718"/>
                </a:lnTo>
                <a:lnTo>
                  <a:pt x="1281" y="718"/>
                </a:lnTo>
                <a:lnTo>
                  <a:pt x="1281" y="718"/>
                </a:lnTo>
                <a:lnTo>
                  <a:pt x="1280" y="718"/>
                </a:lnTo>
                <a:lnTo>
                  <a:pt x="1278" y="720"/>
                </a:lnTo>
                <a:lnTo>
                  <a:pt x="1278" y="720"/>
                </a:lnTo>
                <a:lnTo>
                  <a:pt x="1277" y="721"/>
                </a:lnTo>
                <a:lnTo>
                  <a:pt x="1276" y="721"/>
                </a:lnTo>
                <a:lnTo>
                  <a:pt x="1274" y="721"/>
                </a:lnTo>
                <a:lnTo>
                  <a:pt x="1270" y="721"/>
                </a:lnTo>
                <a:lnTo>
                  <a:pt x="1269" y="721"/>
                </a:lnTo>
                <a:lnTo>
                  <a:pt x="1268" y="720"/>
                </a:lnTo>
                <a:lnTo>
                  <a:pt x="1268" y="718"/>
                </a:lnTo>
                <a:lnTo>
                  <a:pt x="1266" y="717"/>
                </a:lnTo>
                <a:lnTo>
                  <a:pt x="1266" y="716"/>
                </a:lnTo>
                <a:lnTo>
                  <a:pt x="1265" y="714"/>
                </a:lnTo>
                <a:lnTo>
                  <a:pt x="1264" y="714"/>
                </a:lnTo>
                <a:lnTo>
                  <a:pt x="1262" y="714"/>
                </a:lnTo>
                <a:lnTo>
                  <a:pt x="1261" y="714"/>
                </a:lnTo>
                <a:lnTo>
                  <a:pt x="1261" y="714"/>
                </a:lnTo>
                <a:lnTo>
                  <a:pt x="1259" y="714"/>
                </a:lnTo>
                <a:lnTo>
                  <a:pt x="1259" y="714"/>
                </a:lnTo>
                <a:lnTo>
                  <a:pt x="1258" y="713"/>
                </a:lnTo>
                <a:lnTo>
                  <a:pt x="1258" y="713"/>
                </a:lnTo>
                <a:lnTo>
                  <a:pt x="1259" y="711"/>
                </a:lnTo>
                <a:lnTo>
                  <a:pt x="1258" y="711"/>
                </a:lnTo>
                <a:lnTo>
                  <a:pt x="1258" y="710"/>
                </a:lnTo>
                <a:lnTo>
                  <a:pt x="1257" y="710"/>
                </a:lnTo>
                <a:lnTo>
                  <a:pt x="1255" y="711"/>
                </a:lnTo>
                <a:lnTo>
                  <a:pt x="1254" y="711"/>
                </a:lnTo>
                <a:lnTo>
                  <a:pt x="1254" y="709"/>
                </a:lnTo>
                <a:lnTo>
                  <a:pt x="1254" y="705"/>
                </a:lnTo>
                <a:lnTo>
                  <a:pt x="1254" y="703"/>
                </a:lnTo>
                <a:lnTo>
                  <a:pt x="1253" y="702"/>
                </a:lnTo>
                <a:lnTo>
                  <a:pt x="1251" y="701"/>
                </a:lnTo>
                <a:lnTo>
                  <a:pt x="1247" y="699"/>
                </a:lnTo>
                <a:lnTo>
                  <a:pt x="1247" y="698"/>
                </a:lnTo>
                <a:lnTo>
                  <a:pt x="1247" y="698"/>
                </a:lnTo>
                <a:lnTo>
                  <a:pt x="1247" y="696"/>
                </a:lnTo>
                <a:lnTo>
                  <a:pt x="1249" y="694"/>
                </a:lnTo>
                <a:lnTo>
                  <a:pt x="1250" y="692"/>
                </a:lnTo>
                <a:lnTo>
                  <a:pt x="1251" y="691"/>
                </a:lnTo>
                <a:lnTo>
                  <a:pt x="1255" y="690"/>
                </a:lnTo>
                <a:lnTo>
                  <a:pt x="1255" y="690"/>
                </a:lnTo>
                <a:lnTo>
                  <a:pt x="1257" y="690"/>
                </a:lnTo>
                <a:lnTo>
                  <a:pt x="1257" y="687"/>
                </a:lnTo>
                <a:lnTo>
                  <a:pt x="1255" y="686"/>
                </a:lnTo>
                <a:lnTo>
                  <a:pt x="1254" y="686"/>
                </a:lnTo>
                <a:lnTo>
                  <a:pt x="1253" y="684"/>
                </a:lnTo>
                <a:lnTo>
                  <a:pt x="1253" y="683"/>
                </a:lnTo>
                <a:lnTo>
                  <a:pt x="1251" y="683"/>
                </a:lnTo>
                <a:lnTo>
                  <a:pt x="1251" y="683"/>
                </a:lnTo>
                <a:lnTo>
                  <a:pt x="1250" y="682"/>
                </a:lnTo>
                <a:lnTo>
                  <a:pt x="1249" y="679"/>
                </a:lnTo>
                <a:lnTo>
                  <a:pt x="1249" y="677"/>
                </a:lnTo>
                <a:lnTo>
                  <a:pt x="1249" y="675"/>
                </a:lnTo>
                <a:lnTo>
                  <a:pt x="1249" y="675"/>
                </a:lnTo>
                <a:lnTo>
                  <a:pt x="1247" y="673"/>
                </a:lnTo>
                <a:lnTo>
                  <a:pt x="1247" y="672"/>
                </a:lnTo>
                <a:lnTo>
                  <a:pt x="1249" y="671"/>
                </a:lnTo>
                <a:lnTo>
                  <a:pt x="1249" y="669"/>
                </a:lnTo>
                <a:lnTo>
                  <a:pt x="1250" y="667"/>
                </a:lnTo>
                <a:lnTo>
                  <a:pt x="1251" y="664"/>
                </a:lnTo>
                <a:lnTo>
                  <a:pt x="1254" y="652"/>
                </a:lnTo>
                <a:lnTo>
                  <a:pt x="1254" y="650"/>
                </a:lnTo>
                <a:lnTo>
                  <a:pt x="1254" y="650"/>
                </a:lnTo>
                <a:lnTo>
                  <a:pt x="1254" y="649"/>
                </a:lnTo>
                <a:lnTo>
                  <a:pt x="1253" y="648"/>
                </a:lnTo>
                <a:lnTo>
                  <a:pt x="1251" y="646"/>
                </a:lnTo>
                <a:lnTo>
                  <a:pt x="1251" y="645"/>
                </a:lnTo>
                <a:lnTo>
                  <a:pt x="1253" y="643"/>
                </a:lnTo>
                <a:lnTo>
                  <a:pt x="1253" y="642"/>
                </a:lnTo>
                <a:lnTo>
                  <a:pt x="1253" y="642"/>
                </a:lnTo>
                <a:lnTo>
                  <a:pt x="1253" y="642"/>
                </a:lnTo>
                <a:lnTo>
                  <a:pt x="1251" y="641"/>
                </a:lnTo>
                <a:lnTo>
                  <a:pt x="1250" y="639"/>
                </a:lnTo>
                <a:lnTo>
                  <a:pt x="1247" y="638"/>
                </a:lnTo>
                <a:lnTo>
                  <a:pt x="1246" y="637"/>
                </a:lnTo>
                <a:lnTo>
                  <a:pt x="1242" y="637"/>
                </a:lnTo>
                <a:lnTo>
                  <a:pt x="1240" y="635"/>
                </a:lnTo>
                <a:lnTo>
                  <a:pt x="1239" y="634"/>
                </a:lnTo>
                <a:lnTo>
                  <a:pt x="1239" y="634"/>
                </a:lnTo>
                <a:lnTo>
                  <a:pt x="1236" y="637"/>
                </a:lnTo>
                <a:lnTo>
                  <a:pt x="1235" y="637"/>
                </a:lnTo>
                <a:lnTo>
                  <a:pt x="1234" y="638"/>
                </a:lnTo>
                <a:lnTo>
                  <a:pt x="1234" y="639"/>
                </a:lnTo>
                <a:lnTo>
                  <a:pt x="1231" y="639"/>
                </a:lnTo>
                <a:lnTo>
                  <a:pt x="1231" y="639"/>
                </a:lnTo>
                <a:lnTo>
                  <a:pt x="1227" y="642"/>
                </a:lnTo>
                <a:lnTo>
                  <a:pt x="1227" y="642"/>
                </a:lnTo>
                <a:lnTo>
                  <a:pt x="1227" y="642"/>
                </a:lnTo>
                <a:lnTo>
                  <a:pt x="1225" y="642"/>
                </a:lnTo>
                <a:lnTo>
                  <a:pt x="1215" y="643"/>
                </a:lnTo>
                <a:lnTo>
                  <a:pt x="1213" y="645"/>
                </a:lnTo>
                <a:lnTo>
                  <a:pt x="1212" y="645"/>
                </a:lnTo>
                <a:lnTo>
                  <a:pt x="1212" y="645"/>
                </a:lnTo>
                <a:lnTo>
                  <a:pt x="1210" y="645"/>
                </a:lnTo>
                <a:lnTo>
                  <a:pt x="1209" y="645"/>
                </a:lnTo>
                <a:lnTo>
                  <a:pt x="1209" y="646"/>
                </a:lnTo>
                <a:lnTo>
                  <a:pt x="1209" y="648"/>
                </a:lnTo>
                <a:lnTo>
                  <a:pt x="1209" y="649"/>
                </a:lnTo>
                <a:lnTo>
                  <a:pt x="1209" y="650"/>
                </a:lnTo>
                <a:lnTo>
                  <a:pt x="1212" y="652"/>
                </a:lnTo>
                <a:lnTo>
                  <a:pt x="1212" y="652"/>
                </a:lnTo>
                <a:lnTo>
                  <a:pt x="1213" y="652"/>
                </a:lnTo>
                <a:lnTo>
                  <a:pt x="1213" y="653"/>
                </a:lnTo>
                <a:lnTo>
                  <a:pt x="1212" y="654"/>
                </a:lnTo>
                <a:lnTo>
                  <a:pt x="1212" y="657"/>
                </a:lnTo>
                <a:lnTo>
                  <a:pt x="1212" y="658"/>
                </a:lnTo>
                <a:lnTo>
                  <a:pt x="1210" y="660"/>
                </a:lnTo>
                <a:lnTo>
                  <a:pt x="1209" y="665"/>
                </a:lnTo>
                <a:lnTo>
                  <a:pt x="1205" y="672"/>
                </a:lnTo>
                <a:lnTo>
                  <a:pt x="1204" y="675"/>
                </a:lnTo>
                <a:lnTo>
                  <a:pt x="1204" y="676"/>
                </a:lnTo>
                <a:lnTo>
                  <a:pt x="1204" y="676"/>
                </a:lnTo>
                <a:lnTo>
                  <a:pt x="1204" y="677"/>
                </a:lnTo>
                <a:lnTo>
                  <a:pt x="1205" y="679"/>
                </a:lnTo>
                <a:lnTo>
                  <a:pt x="1205" y="679"/>
                </a:lnTo>
                <a:lnTo>
                  <a:pt x="1205" y="679"/>
                </a:lnTo>
                <a:lnTo>
                  <a:pt x="1205" y="680"/>
                </a:lnTo>
                <a:lnTo>
                  <a:pt x="1205" y="680"/>
                </a:lnTo>
                <a:lnTo>
                  <a:pt x="1205" y="680"/>
                </a:lnTo>
                <a:lnTo>
                  <a:pt x="1204" y="680"/>
                </a:lnTo>
                <a:lnTo>
                  <a:pt x="1204" y="683"/>
                </a:lnTo>
                <a:lnTo>
                  <a:pt x="1204" y="683"/>
                </a:lnTo>
                <a:lnTo>
                  <a:pt x="1204" y="684"/>
                </a:lnTo>
                <a:lnTo>
                  <a:pt x="1204" y="684"/>
                </a:lnTo>
                <a:lnTo>
                  <a:pt x="1205" y="686"/>
                </a:lnTo>
                <a:lnTo>
                  <a:pt x="1205" y="687"/>
                </a:lnTo>
                <a:lnTo>
                  <a:pt x="1205" y="688"/>
                </a:lnTo>
                <a:lnTo>
                  <a:pt x="1202" y="692"/>
                </a:lnTo>
                <a:lnTo>
                  <a:pt x="1202" y="694"/>
                </a:lnTo>
                <a:lnTo>
                  <a:pt x="1202" y="699"/>
                </a:lnTo>
                <a:lnTo>
                  <a:pt x="1201" y="701"/>
                </a:lnTo>
                <a:lnTo>
                  <a:pt x="1201" y="701"/>
                </a:lnTo>
                <a:lnTo>
                  <a:pt x="1201" y="702"/>
                </a:lnTo>
                <a:lnTo>
                  <a:pt x="1201" y="702"/>
                </a:lnTo>
                <a:lnTo>
                  <a:pt x="1202" y="703"/>
                </a:lnTo>
                <a:lnTo>
                  <a:pt x="1204" y="706"/>
                </a:lnTo>
                <a:lnTo>
                  <a:pt x="1204" y="706"/>
                </a:lnTo>
                <a:lnTo>
                  <a:pt x="1205" y="706"/>
                </a:lnTo>
                <a:lnTo>
                  <a:pt x="1206" y="707"/>
                </a:lnTo>
                <a:lnTo>
                  <a:pt x="1208" y="709"/>
                </a:lnTo>
                <a:lnTo>
                  <a:pt x="1209" y="711"/>
                </a:lnTo>
                <a:lnTo>
                  <a:pt x="1209" y="714"/>
                </a:lnTo>
                <a:lnTo>
                  <a:pt x="1210" y="714"/>
                </a:lnTo>
                <a:lnTo>
                  <a:pt x="1212" y="717"/>
                </a:lnTo>
                <a:lnTo>
                  <a:pt x="1212" y="718"/>
                </a:lnTo>
                <a:lnTo>
                  <a:pt x="1212" y="718"/>
                </a:lnTo>
                <a:lnTo>
                  <a:pt x="1212" y="722"/>
                </a:lnTo>
                <a:lnTo>
                  <a:pt x="1213" y="724"/>
                </a:lnTo>
                <a:lnTo>
                  <a:pt x="1213" y="725"/>
                </a:lnTo>
                <a:lnTo>
                  <a:pt x="1213" y="726"/>
                </a:lnTo>
                <a:lnTo>
                  <a:pt x="1212" y="728"/>
                </a:lnTo>
                <a:lnTo>
                  <a:pt x="1212" y="730"/>
                </a:lnTo>
                <a:lnTo>
                  <a:pt x="1209" y="736"/>
                </a:lnTo>
                <a:lnTo>
                  <a:pt x="1208" y="739"/>
                </a:lnTo>
                <a:lnTo>
                  <a:pt x="1208" y="740"/>
                </a:lnTo>
                <a:lnTo>
                  <a:pt x="1208" y="741"/>
                </a:lnTo>
                <a:lnTo>
                  <a:pt x="1208" y="743"/>
                </a:lnTo>
                <a:lnTo>
                  <a:pt x="1208" y="743"/>
                </a:lnTo>
                <a:lnTo>
                  <a:pt x="1208" y="745"/>
                </a:lnTo>
                <a:lnTo>
                  <a:pt x="1205" y="748"/>
                </a:lnTo>
                <a:lnTo>
                  <a:pt x="1204" y="751"/>
                </a:lnTo>
                <a:lnTo>
                  <a:pt x="1201" y="751"/>
                </a:lnTo>
                <a:lnTo>
                  <a:pt x="1201" y="750"/>
                </a:lnTo>
                <a:lnTo>
                  <a:pt x="1198" y="748"/>
                </a:lnTo>
                <a:lnTo>
                  <a:pt x="1197" y="748"/>
                </a:lnTo>
                <a:lnTo>
                  <a:pt x="1197" y="747"/>
                </a:lnTo>
                <a:lnTo>
                  <a:pt x="1197" y="747"/>
                </a:lnTo>
                <a:lnTo>
                  <a:pt x="1197" y="745"/>
                </a:lnTo>
                <a:lnTo>
                  <a:pt x="1197" y="745"/>
                </a:lnTo>
                <a:lnTo>
                  <a:pt x="1194" y="744"/>
                </a:lnTo>
                <a:lnTo>
                  <a:pt x="1194" y="744"/>
                </a:lnTo>
                <a:lnTo>
                  <a:pt x="1194" y="744"/>
                </a:lnTo>
                <a:lnTo>
                  <a:pt x="1191" y="745"/>
                </a:lnTo>
                <a:lnTo>
                  <a:pt x="1191" y="745"/>
                </a:lnTo>
                <a:lnTo>
                  <a:pt x="1190" y="745"/>
                </a:lnTo>
                <a:lnTo>
                  <a:pt x="1189" y="745"/>
                </a:lnTo>
                <a:lnTo>
                  <a:pt x="1187" y="745"/>
                </a:lnTo>
                <a:lnTo>
                  <a:pt x="1187" y="747"/>
                </a:lnTo>
                <a:lnTo>
                  <a:pt x="1187" y="748"/>
                </a:lnTo>
                <a:lnTo>
                  <a:pt x="1186" y="748"/>
                </a:lnTo>
                <a:lnTo>
                  <a:pt x="1185" y="748"/>
                </a:lnTo>
                <a:lnTo>
                  <a:pt x="1185" y="747"/>
                </a:lnTo>
                <a:lnTo>
                  <a:pt x="1183" y="747"/>
                </a:lnTo>
                <a:lnTo>
                  <a:pt x="1182" y="747"/>
                </a:lnTo>
                <a:lnTo>
                  <a:pt x="1182" y="748"/>
                </a:lnTo>
                <a:lnTo>
                  <a:pt x="1179" y="750"/>
                </a:lnTo>
                <a:lnTo>
                  <a:pt x="1178" y="750"/>
                </a:lnTo>
                <a:lnTo>
                  <a:pt x="1175" y="750"/>
                </a:lnTo>
                <a:lnTo>
                  <a:pt x="1171" y="747"/>
                </a:lnTo>
                <a:lnTo>
                  <a:pt x="1170" y="747"/>
                </a:lnTo>
                <a:lnTo>
                  <a:pt x="1167" y="747"/>
                </a:lnTo>
                <a:lnTo>
                  <a:pt x="1166" y="747"/>
                </a:lnTo>
                <a:lnTo>
                  <a:pt x="1164" y="748"/>
                </a:lnTo>
                <a:lnTo>
                  <a:pt x="1163" y="750"/>
                </a:lnTo>
                <a:lnTo>
                  <a:pt x="1162" y="752"/>
                </a:lnTo>
                <a:lnTo>
                  <a:pt x="1162" y="752"/>
                </a:lnTo>
                <a:lnTo>
                  <a:pt x="1160" y="752"/>
                </a:lnTo>
                <a:lnTo>
                  <a:pt x="1157" y="751"/>
                </a:lnTo>
                <a:lnTo>
                  <a:pt x="1157" y="751"/>
                </a:lnTo>
                <a:lnTo>
                  <a:pt x="1156" y="750"/>
                </a:lnTo>
                <a:lnTo>
                  <a:pt x="1156" y="748"/>
                </a:lnTo>
                <a:lnTo>
                  <a:pt x="1155" y="748"/>
                </a:lnTo>
                <a:lnTo>
                  <a:pt x="1153" y="748"/>
                </a:lnTo>
                <a:lnTo>
                  <a:pt x="1151" y="750"/>
                </a:lnTo>
                <a:lnTo>
                  <a:pt x="1148" y="748"/>
                </a:lnTo>
                <a:lnTo>
                  <a:pt x="1147" y="747"/>
                </a:lnTo>
                <a:lnTo>
                  <a:pt x="1147" y="744"/>
                </a:lnTo>
                <a:lnTo>
                  <a:pt x="1145" y="743"/>
                </a:lnTo>
                <a:lnTo>
                  <a:pt x="1145" y="743"/>
                </a:lnTo>
                <a:lnTo>
                  <a:pt x="1145" y="743"/>
                </a:lnTo>
                <a:lnTo>
                  <a:pt x="1145" y="739"/>
                </a:lnTo>
                <a:lnTo>
                  <a:pt x="1145" y="737"/>
                </a:lnTo>
                <a:lnTo>
                  <a:pt x="1145" y="736"/>
                </a:lnTo>
                <a:lnTo>
                  <a:pt x="1144" y="736"/>
                </a:lnTo>
                <a:lnTo>
                  <a:pt x="1142" y="737"/>
                </a:lnTo>
                <a:lnTo>
                  <a:pt x="1141" y="739"/>
                </a:lnTo>
                <a:lnTo>
                  <a:pt x="1140" y="740"/>
                </a:lnTo>
                <a:lnTo>
                  <a:pt x="1138" y="740"/>
                </a:lnTo>
                <a:lnTo>
                  <a:pt x="1137" y="741"/>
                </a:lnTo>
                <a:lnTo>
                  <a:pt x="1134" y="743"/>
                </a:lnTo>
                <a:lnTo>
                  <a:pt x="1134" y="744"/>
                </a:lnTo>
                <a:lnTo>
                  <a:pt x="1133" y="745"/>
                </a:lnTo>
                <a:lnTo>
                  <a:pt x="1132" y="745"/>
                </a:lnTo>
                <a:lnTo>
                  <a:pt x="1130" y="747"/>
                </a:lnTo>
                <a:lnTo>
                  <a:pt x="1129" y="747"/>
                </a:lnTo>
                <a:lnTo>
                  <a:pt x="1128" y="745"/>
                </a:lnTo>
                <a:lnTo>
                  <a:pt x="1126" y="745"/>
                </a:lnTo>
                <a:lnTo>
                  <a:pt x="1126" y="747"/>
                </a:lnTo>
                <a:lnTo>
                  <a:pt x="1125" y="747"/>
                </a:lnTo>
                <a:lnTo>
                  <a:pt x="1125" y="748"/>
                </a:lnTo>
                <a:lnTo>
                  <a:pt x="1123" y="747"/>
                </a:lnTo>
                <a:lnTo>
                  <a:pt x="1119" y="744"/>
                </a:lnTo>
                <a:lnTo>
                  <a:pt x="1115" y="743"/>
                </a:lnTo>
                <a:lnTo>
                  <a:pt x="1114" y="743"/>
                </a:lnTo>
                <a:lnTo>
                  <a:pt x="1114" y="743"/>
                </a:lnTo>
                <a:lnTo>
                  <a:pt x="1114" y="741"/>
                </a:lnTo>
                <a:lnTo>
                  <a:pt x="1113" y="740"/>
                </a:lnTo>
                <a:lnTo>
                  <a:pt x="1111" y="740"/>
                </a:lnTo>
                <a:lnTo>
                  <a:pt x="1110" y="740"/>
                </a:lnTo>
                <a:lnTo>
                  <a:pt x="1108" y="739"/>
                </a:lnTo>
                <a:lnTo>
                  <a:pt x="1104" y="737"/>
                </a:lnTo>
                <a:lnTo>
                  <a:pt x="1103" y="736"/>
                </a:lnTo>
                <a:lnTo>
                  <a:pt x="1103" y="736"/>
                </a:lnTo>
                <a:lnTo>
                  <a:pt x="1102" y="736"/>
                </a:lnTo>
                <a:lnTo>
                  <a:pt x="1100" y="736"/>
                </a:lnTo>
                <a:lnTo>
                  <a:pt x="1100" y="736"/>
                </a:lnTo>
                <a:lnTo>
                  <a:pt x="1100" y="735"/>
                </a:lnTo>
                <a:lnTo>
                  <a:pt x="1100" y="735"/>
                </a:lnTo>
                <a:lnTo>
                  <a:pt x="1099" y="735"/>
                </a:lnTo>
                <a:lnTo>
                  <a:pt x="1098" y="735"/>
                </a:lnTo>
                <a:lnTo>
                  <a:pt x="1095" y="736"/>
                </a:lnTo>
                <a:lnTo>
                  <a:pt x="1093" y="736"/>
                </a:lnTo>
                <a:lnTo>
                  <a:pt x="1093" y="736"/>
                </a:lnTo>
                <a:lnTo>
                  <a:pt x="1092" y="736"/>
                </a:lnTo>
                <a:lnTo>
                  <a:pt x="1092" y="736"/>
                </a:lnTo>
                <a:lnTo>
                  <a:pt x="1092" y="736"/>
                </a:lnTo>
                <a:lnTo>
                  <a:pt x="1092" y="736"/>
                </a:lnTo>
                <a:lnTo>
                  <a:pt x="1091" y="735"/>
                </a:lnTo>
                <a:lnTo>
                  <a:pt x="1091" y="735"/>
                </a:lnTo>
                <a:lnTo>
                  <a:pt x="1091" y="735"/>
                </a:lnTo>
                <a:lnTo>
                  <a:pt x="1089" y="735"/>
                </a:lnTo>
                <a:lnTo>
                  <a:pt x="1088" y="735"/>
                </a:lnTo>
                <a:lnTo>
                  <a:pt x="1088" y="735"/>
                </a:lnTo>
                <a:lnTo>
                  <a:pt x="1084" y="732"/>
                </a:lnTo>
                <a:lnTo>
                  <a:pt x="1083" y="732"/>
                </a:lnTo>
                <a:lnTo>
                  <a:pt x="1080" y="732"/>
                </a:lnTo>
                <a:lnTo>
                  <a:pt x="1079" y="732"/>
                </a:lnTo>
                <a:lnTo>
                  <a:pt x="1077" y="733"/>
                </a:lnTo>
                <a:lnTo>
                  <a:pt x="1073" y="736"/>
                </a:lnTo>
                <a:lnTo>
                  <a:pt x="1072" y="737"/>
                </a:lnTo>
                <a:lnTo>
                  <a:pt x="1072" y="737"/>
                </a:lnTo>
                <a:lnTo>
                  <a:pt x="1070" y="737"/>
                </a:lnTo>
                <a:lnTo>
                  <a:pt x="1070" y="736"/>
                </a:lnTo>
                <a:lnTo>
                  <a:pt x="1070" y="736"/>
                </a:lnTo>
                <a:lnTo>
                  <a:pt x="1070" y="736"/>
                </a:lnTo>
                <a:lnTo>
                  <a:pt x="1070" y="735"/>
                </a:lnTo>
                <a:lnTo>
                  <a:pt x="1069" y="735"/>
                </a:lnTo>
                <a:lnTo>
                  <a:pt x="1069" y="736"/>
                </a:lnTo>
                <a:lnTo>
                  <a:pt x="1068" y="735"/>
                </a:lnTo>
                <a:lnTo>
                  <a:pt x="1065" y="733"/>
                </a:lnTo>
                <a:lnTo>
                  <a:pt x="1064" y="732"/>
                </a:lnTo>
                <a:lnTo>
                  <a:pt x="1064" y="729"/>
                </a:lnTo>
                <a:lnTo>
                  <a:pt x="1064" y="724"/>
                </a:lnTo>
                <a:lnTo>
                  <a:pt x="1064" y="722"/>
                </a:lnTo>
                <a:lnTo>
                  <a:pt x="1062" y="721"/>
                </a:lnTo>
                <a:lnTo>
                  <a:pt x="1058" y="718"/>
                </a:lnTo>
                <a:lnTo>
                  <a:pt x="1057" y="718"/>
                </a:lnTo>
                <a:lnTo>
                  <a:pt x="1053" y="720"/>
                </a:lnTo>
                <a:lnTo>
                  <a:pt x="1050" y="721"/>
                </a:lnTo>
                <a:lnTo>
                  <a:pt x="1047" y="722"/>
                </a:lnTo>
                <a:lnTo>
                  <a:pt x="1046" y="722"/>
                </a:lnTo>
                <a:lnTo>
                  <a:pt x="1046" y="722"/>
                </a:lnTo>
                <a:lnTo>
                  <a:pt x="1045" y="722"/>
                </a:lnTo>
                <a:lnTo>
                  <a:pt x="1043" y="724"/>
                </a:lnTo>
                <a:lnTo>
                  <a:pt x="1042" y="725"/>
                </a:lnTo>
                <a:lnTo>
                  <a:pt x="1042" y="725"/>
                </a:lnTo>
                <a:lnTo>
                  <a:pt x="1042" y="725"/>
                </a:lnTo>
                <a:lnTo>
                  <a:pt x="1039" y="726"/>
                </a:lnTo>
                <a:lnTo>
                  <a:pt x="1038" y="726"/>
                </a:lnTo>
                <a:lnTo>
                  <a:pt x="1032" y="725"/>
                </a:lnTo>
                <a:lnTo>
                  <a:pt x="1031" y="722"/>
                </a:lnTo>
                <a:lnTo>
                  <a:pt x="1031" y="721"/>
                </a:lnTo>
                <a:lnTo>
                  <a:pt x="1031" y="718"/>
                </a:lnTo>
                <a:lnTo>
                  <a:pt x="1028" y="717"/>
                </a:lnTo>
                <a:lnTo>
                  <a:pt x="1027" y="718"/>
                </a:lnTo>
                <a:lnTo>
                  <a:pt x="1024" y="718"/>
                </a:lnTo>
                <a:lnTo>
                  <a:pt x="1021" y="718"/>
                </a:lnTo>
                <a:lnTo>
                  <a:pt x="1021" y="718"/>
                </a:lnTo>
                <a:lnTo>
                  <a:pt x="1021" y="717"/>
                </a:lnTo>
                <a:lnTo>
                  <a:pt x="1021" y="717"/>
                </a:lnTo>
                <a:lnTo>
                  <a:pt x="1020" y="717"/>
                </a:lnTo>
                <a:lnTo>
                  <a:pt x="1020" y="716"/>
                </a:lnTo>
                <a:lnTo>
                  <a:pt x="1019" y="716"/>
                </a:lnTo>
                <a:lnTo>
                  <a:pt x="1017" y="714"/>
                </a:lnTo>
                <a:lnTo>
                  <a:pt x="1017" y="713"/>
                </a:lnTo>
                <a:lnTo>
                  <a:pt x="1016" y="711"/>
                </a:lnTo>
                <a:lnTo>
                  <a:pt x="1015" y="710"/>
                </a:lnTo>
                <a:lnTo>
                  <a:pt x="1012" y="710"/>
                </a:lnTo>
                <a:lnTo>
                  <a:pt x="1011" y="709"/>
                </a:lnTo>
                <a:lnTo>
                  <a:pt x="1011" y="709"/>
                </a:lnTo>
                <a:lnTo>
                  <a:pt x="1011" y="707"/>
                </a:lnTo>
                <a:lnTo>
                  <a:pt x="1009" y="707"/>
                </a:lnTo>
                <a:lnTo>
                  <a:pt x="1008" y="707"/>
                </a:lnTo>
                <a:lnTo>
                  <a:pt x="1008" y="709"/>
                </a:lnTo>
                <a:lnTo>
                  <a:pt x="1006" y="709"/>
                </a:lnTo>
                <a:lnTo>
                  <a:pt x="1000" y="706"/>
                </a:lnTo>
                <a:lnTo>
                  <a:pt x="998" y="706"/>
                </a:lnTo>
                <a:lnTo>
                  <a:pt x="998" y="705"/>
                </a:lnTo>
                <a:lnTo>
                  <a:pt x="998" y="703"/>
                </a:lnTo>
                <a:lnTo>
                  <a:pt x="1000" y="702"/>
                </a:lnTo>
                <a:lnTo>
                  <a:pt x="1000" y="701"/>
                </a:lnTo>
                <a:lnTo>
                  <a:pt x="1001" y="698"/>
                </a:lnTo>
                <a:lnTo>
                  <a:pt x="1000" y="695"/>
                </a:lnTo>
                <a:lnTo>
                  <a:pt x="1000" y="692"/>
                </a:lnTo>
                <a:lnTo>
                  <a:pt x="998" y="690"/>
                </a:lnTo>
                <a:lnTo>
                  <a:pt x="997" y="688"/>
                </a:lnTo>
                <a:lnTo>
                  <a:pt x="996" y="687"/>
                </a:lnTo>
                <a:lnTo>
                  <a:pt x="978" y="683"/>
                </a:lnTo>
                <a:lnTo>
                  <a:pt x="977" y="683"/>
                </a:lnTo>
                <a:lnTo>
                  <a:pt x="975" y="680"/>
                </a:lnTo>
                <a:lnTo>
                  <a:pt x="975" y="680"/>
                </a:lnTo>
                <a:lnTo>
                  <a:pt x="974" y="679"/>
                </a:lnTo>
                <a:lnTo>
                  <a:pt x="972" y="679"/>
                </a:lnTo>
                <a:lnTo>
                  <a:pt x="971" y="679"/>
                </a:lnTo>
                <a:lnTo>
                  <a:pt x="971" y="677"/>
                </a:lnTo>
                <a:lnTo>
                  <a:pt x="971" y="677"/>
                </a:lnTo>
                <a:lnTo>
                  <a:pt x="968" y="676"/>
                </a:lnTo>
                <a:lnTo>
                  <a:pt x="968" y="676"/>
                </a:lnTo>
                <a:lnTo>
                  <a:pt x="968" y="675"/>
                </a:lnTo>
                <a:lnTo>
                  <a:pt x="967" y="675"/>
                </a:lnTo>
                <a:lnTo>
                  <a:pt x="967" y="673"/>
                </a:lnTo>
                <a:lnTo>
                  <a:pt x="966" y="675"/>
                </a:lnTo>
                <a:lnTo>
                  <a:pt x="962" y="677"/>
                </a:lnTo>
                <a:lnTo>
                  <a:pt x="960" y="679"/>
                </a:lnTo>
                <a:lnTo>
                  <a:pt x="959" y="679"/>
                </a:lnTo>
                <a:lnTo>
                  <a:pt x="956" y="679"/>
                </a:lnTo>
                <a:lnTo>
                  <a:pt x="956" y="679"/>
                </a:lnTo>
                <a:lnTo>
                  <a:pt x="956" y="679"/>
                </a:lnTo>
                <a:lnTo>
                  <a:pt x="955" y="679"/>
                </a:lnTo>
                <a:lnTo>
                  <a:pt x="952" y="679"/>
                </a:lnTo>
                <a:lnTo>
                  <a:pt x="951" y="679"/>
                </a:lnTo>
                <a:lnTo>
                  <a:pt x="951" y="680"/>
                </a:lnTo>
                <a:lnTo>
                  <a:pt x="952" y="683"/>
                </a:lnTo>
                <a:lnTo>
                  <a:pt x="953" y="683"/>
                </a:lnTo>
                <a:lnTo>
                  <a:pt x="953" y="684"/>
                </a:lnTo>
                <a:lnTo>
                  <a:pt x="953" y="684"/>
                </a:lnTo>
                <a:lnTo>
                  <a:pt x="952" y="684"/>
                </a:lnTo>
                <a:lnTo>
                  <a:pt x="952" y="684"/>
                </a:lnTo>
                <a:lnTo>
                  <a:pt x="952" y="686"/>
                </a:lnTo>
                <a:lnTo>
                  <a:pt x="952" y="686"/>
                </a:lnTo>
                <a:lnTo>
                  <a:pt x="951" y="686"/>
                </a:lnTo>
                <a:lnTo>
                  <a:pt x="948" y="684"/>
                </a:lnTo>
                <a:lnTo>
                  <a:pt x="940" y="680"/>
                </a:lnTo>
                <a:lnTo>
                  <a:pt x="936" y="677"/>
                </a:lnTo>
                <a:lnTo>
                  <a:pt x="929" y="677"/>
                </a:lnTo>
                <a:lnTo>
                  <a:pt x="923" y="677"/>
                </a:lnTo>
                <a:lnTo>
                  <a:pt x="922" y="677"/>
                </a:lnTo>
                <a:lnTo>
                  <a:pt x="921" y="679"/>
                </a:lnTo>
                <a:lnTo>
                  <a:pt x="921" y="679"/>
                </a:lnTo>
                <a:lnTo>
                  <a:pt x="921" y="680"/>
                </a:lnTo>
                <a:lnTo>
                  <a:pt x="922" y="682"/>
                </a:lnTo>
                <a:lnTo>
                  <a:pt x="922" y="682"/>
                </a:lnTo>
                <a:lnTo>
                  <a:pt x="922" y="683"/>
                </a:lnTo>
                <a:lnTo>
                  <a:pt x="921" y="684"/>
                </a:lnTo>
                <a:lnTo>
                  <a:pt x="919" y="686"/>
                </a:lnTo>
                <a:lnTo>
                  <a:pt x="918" y="686"/>
                </a:lnTo>
                <a:lnTo>
                  <a:pt x="917" y="687"/>
                </a:lnTo>
                <a:lnTo>
                  <a:pt x="915" y="686"/>
                </a:lnTo>
                <a:lnTo>
                  <a:pt x="915" y="686"/>
                </a:lnTo>
                <a:lnTo>
                  <a:pt x="914" y="684"/>
                </a:lnTo>
                <a:lnTo>
                  <a:pt x="914" y="683"/>
                </a:lnTo>
                <a:lnTo>
                  <a:pt x="913" y="682"/>
                </a:lnTo>
                <a:lnTo>
                  <a:pt x="910" y="680"/>
                </a:lnTo>
                <a:lnTo>
                  <a:pt x="909" y="679"/>
                </a:lnTo>
                <a:lnTo>
                  <a:pt x="900" y="679"/>
                </a:lnTo>
                <a:lnTo>
                  <a:pt x="896" y="677"/>
                </a:lnTo>
                <a:lnTo>
                  <a:pt x="894" y="676"/>
                </a:lnTo>
                <a:lnTo>
                  <a:pt x="892" y="676"/>
                </a:lnTo>
                <a:lnTo>
                  <a:pt x="885" y="675"/>
                </a:lnTo>
                <a:lnTo>
                  <a:pt x="884" y="673"/>
                </a:lnTo>
                <a:lnTo>
                  <a:pt x="883" y="671"/>
                </a:lnTo>
                <a:lnTo>
                  <a:pt x="883" y="667"/>
                </a:lnTo>
                <a:lnTo>
                  <a:pt x="881" y="664"/>
                </a:lnTo>
                <a:lnTo>
                  <a:pt x="880" y="663"/>
                </a:lnTo>
                <a:lnTo>
                  <a:pt x="880" y="661"/>
                </a:lnTo>
                <a:lnTo>
                  <a:pt x="879" y="661"/>
                </a:lnTo>
                <a:lnTo>
                  <a:pt x="872" y="664"/>
                </a:lnTo>
                <a:lnTo>
                  <a:pt x="866" y="664"/>
                </a:lnTo>
                <a:lnTo>
                  <a:pt x="864" y="663"/>
                </a:lnTo>
                <a:lnTo>
                  <a:pt x="861" y="660"/>
                </a:lnTo>
                <a:lnTo>
                  <a:pt x="855" y="657"/>
                </a:lnTo>
                <a:lnTo>
                  <a:pt x="849" y="652"/>
                </a:lnTo>
                <a:lnTo>
                  <a:pt x="846" y="650"/>
                </a:lnTo>
                <a:lnTo>
                  <a:pt x="845" y="650"/>
                </a:lnTo>
                <a:lnTo>
                  <a:pt x="843" y="649"/>
                </a:lnTo>
                <a:lnTo>
                  <a:pt x="842" y="648"/>
                </a:lnTo>
                <a:lnTo>
                  <a:pt x="842" y="648"/>
                </a:lnTo>
                <a:lnTo>
                  <a:pt x="841" y="648"/>
                </a:lnTo>
                <a:lnTo>
                  <a:pt x="838" y="648"/>
                </a:lnTo>
                <a:lnTo>
                  <a:pt x="836" y="648"/>
                </a:lnTo>
                <a:lnTo>
                  <a:pt x="834" y="650"/>
                </a:lnTo>
                <a:lnTo>
                  <a:pt x="832" y="652"/>
                </a:lnTo>
                <a:lnTo>
                  <a:pt x="831" y="652"/>
                </a:lnTo>
                <a:lnTo>
                  <a:pt x="828" y="650"/>
                </a:lnTo>
                <a:lnTo>
                  <a:pt x="827" y="649"/>
                </a:lnTo>
                <a:lnTo>
                  <a:pt x="824" y="648"/>
                </a:lnTo>
                <a:lnTo>
                  <a:pt x="821" y="645"/>
                </a:lnTo>
                <a:lnTo>
                  <a:pt x="820" y="643"/>
                </a:lnTo>
                <a:lnTo>
                  <a:pt x="819" y="643"/>
                </a:lnTo>
                <a:lnTo>
                  <a:pt x="816" y="642"/>
                </a:lnTo>
                <a:lnTo>
                  <a:pt x="815" y="642"/>
                </a:lnTo>
                <a:lnTo>
                  <a:pt x="815" y="642"/>
                </a:lnTo>
                <a:lnTo>
                  <a:pt x="815" y="642"/>
                </a:lnTo>
                <a:lnTo>
                  <a:pt x="815" y="641"/>
                </a:lnTo>
                <a:lnTo>
                  <a:pt x="813" y="639"/>
                </a:lnTo>
                <a:lnTo>
                  <a:pt x="808" y="637"/>
                </a:lnTo>
                <a:lnTo>
                  <a:pt x="807" y="637"/>
                </a:lnTo>
                <a:lnTo>
                  <a:pt x="807" y="635"/>
                </a:lnTo>
                <a:lnTo>
                  <a:pt x="807" y="635"/>
                </a:lnTo>
                <a:lnTo>
                  <a:pt x="807" y="634"/>
                </a:lnTo>
                <a:lnTo>
                  <a:pt x="805" y="633"/>
                </a:lnTo>
                <a:lnTo>
                  <a:pt x="804" y="631"/>
                </a:lnTo>
                <a:lnTo>
                  <a:pt x="802" y="630"/>
                </a:lnTo>
                <a:lnTo>
                  <a:pt x="801" y="630"/>
                </a:lnTo>
                <a:lnTo>
                  <a:pt x="801" y="630"/>
                </a:lnTo>
                <a:lnTo>
                  <a:pt x="800" y="631"/>
                </a:lnTo>
                <a:lnTo>
                  <a:pt x="800" y="631"/>
                </a:lnTo>
                <a:lnTo>
                  <a:pt x="800" y="633"/>
                </a:lnTo>
                <a:lnTo>
                  <a:pt x="798" y="633"/>
                </a:lnTo>
                <a:lnTo>
                  <a:pt x="797" y="633"/>
                </a:lnTo>
                <a:lnTo>
                  <a:pt x="797" y="633"/>
                </a:lnTo>
                <a:lnTo>
                  <a:pt x="797" y="631"/>
                </a:lnTo>
                <a:lnTo>
                  <a:pt x="796" y="631"/>
                </a:lnTo>
                <a:lnTo>
                  <a:pt x="796" y="631"/>
                </a:lnTo>
                <a:lnTo>
                  <a:pt x="796" y="630"/>
                </a:lnTo>
                <a:lnTo>
                  <a:pt x="797" y="630"/>
                </a:lnTo>
                <a:lnTo>
                  <a:pt x="796" y="629"/>
                </a:lnTo>
                <a:lnTo>
                  <a:pt x="793" y="624"/>
                </a:lnTo>
                <a:lnTo>
                  <a:pt x="792" y="623"/>
                </a:lnTo>
                <a:lnTo>
                  <a:pt x="790" y="619"/>
                </a:lnTo>
                <a:lnTo>
                  <a:pt x="789" y="616"/>
                </a:lnTo>
                <a:lnTo>
                  <a:pt x="787" y="616"/>
                </a:lnTo>
                <a:lnTo>
                  <a:pt x="782" y="615"/>
                </a:lnTo>
                <a:lnTo>
                  <a:pt x="779" y="615"/>
                </a:lnTo>
                <a:lnTo>
                  <a:pt x="778" y="614"/>
                </a:lnTo>
                <a:lnTo>
                  <a:pt x="778" y="614"/>
                </a:lnTo>
                <a:lnTo>
                  <a:pt x="778" y="612"/>
                </a:lnTo>
                <a:lnTo>
                  <a:pt x="778" y="612"/>
                </a:lnTo>
                <a:lnTo>
                  <a:pt x="777" y="612"/>
                </a:lnTo>
                <a:lnTo>
                  <a:pt x="775" y="612"/>
                </a:lnTo>
                <a:lnTo>
                  <a:pt x="774" y="612"/>
                </a:lnTo>
                <a:lnTo>
                  <a:pt x="773" y="611"/>
                </a:lnTo>
                <a:lnTo>
                  <a:pt x="773" y="611"/>
                </a:lnTo>
                <a:lnTo>
                  <a:pt x="771" y="609"/>
                </a:lnTo>
                <a:lnTo>
                  <a:pt x="771" y="608"/>
                </a:lnTo>
                <a:lnTo>
                  <a:pt x="771" y="608"/>
                </a:lnTo>
                <a:lnTo>
                  <a:pt x="770" y="607"/>
                </a:lnTo>
                <a:lnTo>
                  <a:pt x="767" y="607"/>
                </a:lnTo>
                <a:lnTo>
                  <a:pt x="767" y="607"/>
                </a:lnTo>
                <a:lnTo>
                  <a:pt x="766" y="607"/>
                </a:lnTo>
                <a:lnTo>
                  <a:pt x="763" y="604"/>
                </a:lnTo>
                <a:lnTo>
                  <a:pt x="762" y="604"/>
                </a:lnTo>
                <a:lnTo>
                  <a:pt x="760" y="603"/>
                </a:lnTo>
                <a:lnTo>
                  <a:pt x="759" y="603"/>
                </a:lnTo>
                <a:lnTo>
                  <a:pt x="759" y="601"/>
                </a:lnTo>
                <a:lnTo>
                  <a:pt x="758" y="600"/>
                </a:lnTo>
                <a:lnTo>
                  <a:pt x="756" y="599"/>
                </a:lnTo>
                <a:lnTo>
                  <a:pt x="755" y="599"/>
                </a:lnTo>
                <a:lnTo>
                  <a:pt x="753" y="599"/>
                </a:lnTo>
                <a:lnTo>
                  <a:pt x="752" y="597"/>
                </a:lnTo>
                <a:lnTo>
                  <a:pt x="752" y="597"/>
                </a:lnTo>
                <a:lnTo>
                  <a:pt x="752" y="596"/>
                </a:lnTo>
                <a:lnTo>
                  <a:pt x="752" y="596"/>
                </a:lnTo>
                <a:lnTo>
                  <a:pt x="752" y="596"/>
                </a:lnTo>
                <a:lnTo>
                  <a:pt x="751" y="596"/>
                </a:lnTo>
                <a:lnTo>
                  <a:pt x="749" y="596"/>
                </a:lnTo>
                <a:lnTo>
                  <a:pt x="748" y="596"/>
                </a:lnTo>
                <a:lnTo>
                  <a:pt x="748" y="597"/>
                </a:lnTo>
                <a:lnTo>
                  <a:pt x="748" y="599"/>
                </a:lnTo>
                <a:lnTo>
                  <a:pt x="748" y="603"/>
                </a:lnTo>
                <a:lnTo>
                  <a:pt x="748" y="603"/>
                </a:lnTo>
                <a:lnTo>
                  <a:pt x="747" y="603"/>
                </a:lnTo>
                <a:lnTo>
                  <a:pt x="744" y="600"/>
                </a:lnTo>
                <a:lnTo>
                  <a:pt x="743" y="599"/>
                </a:lnTo>
                <a:lnTo>
                  <a:pt x="741" y="599"/>
                </a:lnTo>
                <a:lnTo>
                  <a:pt x="741" y="599"/>
                </a:lnTo>
                <a:lnTo>
                  <a:pt x="740" y="600"/>
                </a:lnTo>
                <a:lnTo>
                  <a:pt x="739" y="599"/>
                </a:lnTo>
                <a:lnTo>
                  <a:pt x="737" y="599"/>
                </a:lnTo>
                <a:lnTo>
                  <a:pt x="736" y="595"/>
                </a:lnTo>
                <a:lnTo>
                  <a:pt x="736" y="595"/>
                </a:lnTo>
                <a:lnTo>
                  <a:pt x="734" y="595"/>
                </a:lnTo>
                <a:lnTo>
                  <a:pt x="734" y="593"/>
                </a:lnTo>
                <a:lnTo>
                  <a:pt x="733" y="593"/>
                </a:lnTo>
                <a:lnTo>
                  <a:pt x="733" y="592"/>
                </a:lnTo>
                <a:lnTo>
                  <a:pt x="732" y="592"/>
                </a:lnTo>
                <a:lnTo>
                  <a:pt x="732" y="590"/>
                </a:lnTo>
                <a:lnTo>
                  <a:pt x="729" y="590"/>
                </a:lnTo>
                <a:lnTo>
                  <a:pt x="728" y="590"/>
                </a:lnTo>
                <a:lnTo>
                  <a:pt x="728" y="589"/>
                </a:lnTo>
                <a:lnTo>
                  <a:pt x="725" y="586"/>
                </a:lnTo>
                <a:lnTo>
                  <a:pt x="724" y="586"/>
                </a:lnTo>
                <a:lnTo>
                  <a:pt x="722" y="586"/>
                </a:lnTo>
                <a:lnTo>
                  <a:pt x="722" y="585"/>
                </a:lnTo>
                <a:lnTo>
                  <a:pt x="721" y="585"/>
                </a:lnTo>
                <a:lnTo>
                  <a:pt x="719" y="582"/>
                </a:lnTo>
                <a:lnTo>
                  <a:pt x="719" y="581"/>
                </a:lnTo>
                <a:lnTo>
                  <a:pt x="721" y="580"/>
                </a:lnTo>
                <a:lnTo>
                  <a:pt x="721" y="578"/>
                </a:lnTo>
                <a:lnTo>
                  <a:pt x="721" y="577"/>
                </a:lnTo>
                <a:lnTo>
                  <a:pt x="722" y="577"/>
                </a:lnTo>
                <a:lnTo>
                  <a:pt x="724" y="575"/>
                </a:lnTo>
                <a:lnTo>
                  <a:pt x="725" y="575"/>
                </a:lnTo>
                <a:lnTo>
                  <a:pt x="725" y="574"/>
                </a:lnTo>
                <a:lnTo>
                  <a:pt x="725" y="574"/>
                </a:lnTo>
                <a:lnTo>
                  <a:pt x="725" y="571"/>
                </a:lnTo>
                <a:lnTo>
                  <a:pt x="725" y="569"/>
                </a:lnTo>
                <a:lnTo>
                  <a:pt x="726" y="566"/>
                </a:lnTo>
                <a:lnTo>
                  <a:pt x="728" y="565"/>
                </a:lnTo>
                <a:lnTo>
                  <a:pt x="729" y="565"/>
                </a:lnTo>
                <a:lnTo>
                  <a:pt x="730" y="565"/>
                </a:lnTo>
                <a:lnTo>
                  <a:pt x="732" y="565"/>
                </a:lnTo>
                <a:lnTo>
                  <a:pt x="732" y="565"/>
                </a:lnTo>
                <a:lnTo>
                  <a:pt x="732" y="563"/>
                </a:lnTo>
                <a:lnTo>
                  <a:pt x="732" y="561"/>
                </a:lnTo>
                <a:lnTo>
                  <a:pt x="732" y="559"/>
                </a:lnTo>
                <a:lnTo>
                  <a:pt x="733" y="559"/>
                </a:lnTo>
                <a:lnTo>
                  <a:pt x="733" y="559"/>
                </a:lnTo>
                <a:lnTo>
                  <a:pt x="734" y="559"/>
                </a:lnTo>
                <a:lnTo>
                  <a:pt x="734" y="555"/>
                </a:lnTo>
                <a:lnTo>
                  <a:pt x="736" y="554"/>
                </a:lnTo>
                <a:lnTo>
                  <a:pt x="736" y="552"/>
                </a:lnTo>
                <a:lnTo>
                  <a:pt x="734" y="552"/>
                </a:lnTo>
                <a:lnTo>
                  <a:pt x="734" y="552"/>
                </a:lnTo>
                <a:lnTo>
                  <a:pt x="733" y="552"/>
                </a:lnTo>
                <a:lnTo>
                  <a:pt x="733" y="551"/>
                </a:lnTo>
                <a:lnTo>
                  <a:pt x="733" y="548"/>
                </a:lnTo>
                <a:lnTo>
                  <a:pt x="732" y="546"/>
                </a:lnTo>
                <a:lnTo>
                  <a:pt x="732" y="546"/>
                </a:lnTo>
                <a:lnTo>
                  <a:pt x="732" y="544"/>
                </a:lnTo>
                <a:lnTo>
                  <a:pt x="732" y="543"/>
                </a:lnTo>
                <a:lnTo>
                  <a:pt x="734" y="543"/>
                </a:lnTo>
                <a:lnTo>
                  <a:pt x="734" y="543"/>
                </a:lnTo>
                <a:lnTo>
                  <a:pt x="734" y="541"/>
                </a:lnTo>
                <a:lnTo>
                  <a:pt x="734" y="541"/>
                </a:lnTo>
                <a:lnTo>
                  <a:pt x="736" y="540"/>
                </a:lnTo>
                <a:lnTo>
                  <a:pt x="736" y="540"/>
                </a:lnTo>
                <a:lnTo>
                  <a:pt x="736" y="540"/>
                </a:lnTo>
                <a:lnTo>
                  <a:pt x="737" y="539"/>
                </a:lnTo>
                <a:lnTo>
                  <a:pt x="737" y="539"/>
                </a:lnTo>
                <a:lnTo>
                  <a:pt x="739" y="537"/>
                </a:lnTo>
                <a:lnTo>
                  <a:pt x="739" y="537"/>
                </a:lnTo>
                <a:lnTo>
                  <a:pt x="739" y="537"/>
                </a:lnTo>
                <a:lnTo>
                  <a:pt x="737" y="536"/>
                </a:lnTo>
                <a:lnTo>
                  <a:pt x="739" y="536"/>
                </a:lnTo>
                <a:lnTo>
                  <a:pt x="739" y="536"/>
                </a:lnTo>
                <a:lnTo>
                  <a:pt x="739" y="536"/>
                </a:lnTo>
                <a:lnTo>
                  <a:pt x="740" y="535"/>
                </a:lnTo>
                <a:lnTo>
                  <a:pt x="741" y="533"/>
                </a:lnTo>
                <a:lnTo>
                  <a:pt x="741" y="532"/>
                </a:lnTo>
                <a:lnTo>
                  <a:pt x="741" y="531"/>
                </a:lnTo>
                <a:lnTo>
                  <a:pt x="741" y="529"/>
                </a:lnTo>
                <a:lnTo>
                  <a:pt x="740" y="527"/>
                </a:lnTo>
                <a:lnTo>
                  <a:pt x="740" y="525"/>
                </a:lnTo>
                <a:lnTo>
                  <a:pt x="740" y="524"/>
                </a:lnTo>
                <a:lnTo>
                  <a:pt x="741" y="521"/>
                </a:lnTo>
                <a:lnTo>
                  <a:pt x="743" y="521"/>
                </a:lnTo>
                <a:lnTo>
                  <a:pt x="745" y="520"/>
                </a:lnTo>
                <a:lnTo>
                  <a:pt x="747" y="518"/>
                </a:lnTo>
                <a:lnTo>
                  <a:pt x="751" y="514"/>
                </a:lnTo>
                <a:lnTo>
                  <a:pt x="752" y="513"/>
                </a:lnTo>
                <a:lnTo>
                  <a:pt x="752" y="510"/>
                </a:lnTo>
                <a:lnTo>
                  <a:pt x="753" y="509"/>
                </a:lnTo>
                <a:lnTo>
                  <a:pt x="753" y="509"/>
                </a:lnTo>
                <a:lnTo>
                  <a:pt x="756" y="507"/>
                </a:lnTo>
                <a:lnTo>
                  <a:pt x="758" y="507"/>
                </a:lnTo>
                <a:lnTo>
                  <a:pt x="758" y="507"/>
                </a:lnTo>
                <a:lnTo>
                  <a:pt x="759" y="506"/>
                </a:lnTo>
                <a:lnTo>
                  <a:pt x="762" y="505"/>
                </a:lnTo>
                <a:lnTo>
                  <a:pt x="762" y="503"/>
                </a:lnTo>
                <a:lnTo>
                  <a:pt x="764" y="501"/>
                </a:lnTo>
                <a:lnTo>
                  <a:pt x="764" y="499"/>
                </a:lnTo>
                <a:lnTo>
                  <a:pt x="768" y="497"/>
                </a:lnTo>
                <a:lnTo>
                  <a:pt x="770" y="495"/>
                </a:lnTo>
                <a:lnTo>
                  <a:pt x="768" y="494"/>
                </a:lnTo>
                <a:lnTo>
                  <a:pt x="770" y="493"/>
                </a:lnTo>
                <a:lnTo>
                  <a:pt x="771" y="491"/>
                </a:lnTo>
                <a:lnTo>
                  <a:pt x="771" y="491"/>
                </a:lnTo>
                <a:lnTo>
                  <a:pt x="773" y="491"/>
                </a:lnTo>
                <a:lnTo>
                  <a:pt x="773" y="493"/>
                </a:lnTo>
                <a:lnTo>
                  <a:pt x="774" y="493"/>
                </a:lnTo>
                <a:lnTo>
                  <a:pt x="778" y="491"/>
                </a:lnTo>
                <a:lnTo>
                  <a:pt x="778" y="491"/>
                </a:lnTo>
                <a:lnTo>
                  <a:pt x="779" y="490"/>
                </a:lnTo>
                <a:lnTo>
                  <a:pt x="778" y="490"/>
                </a:lnTo>
                <a:lnTo>
                  <a:pt x="778" y="487"/>
                </a:lnTo>
                <a:lnTo>
                  <a:pt x="775" y="487"/>
                </a:lnTo>
                <a:lnTo>
                  <a:pt x="771" y="486"/>
                </a:lnTo>
                <a:lnTo>
                  <a:pt x="766" y="483"/>
                </a:lnTo>
                <a:lnTo>
                  <a:pt x="764" y="482"/>
                </a:lnTo>
                <a:lnTo>
                  <a:pt x="764" y="482"/>
                </a:lnTo>
                <a:lnTo>
                  <a:pt x="763" y="479"/>
                </a:lnTo>
                <a:lnTo>
                  <a:pt x="762" y="478"/>
                </a:lnTo>
                <a:lnTo>
                  <a:pt x="760" y="476"/>
                </a:lnTo>
                <a:lnTo>
                  <a:pt x="755" y="473"/>
                </a:lnTo>
                <a:lnTo>
                  <a:pt x="753" y="473"/>
                </a:lnTo>
                <a:lnTo>
                  <a:pt x="752" y="473"/>
                </a:lnTo>
                <a:lnTo>
                  <a:pt x="751" y="473"/>
                </a:lnTo>
                <a:lnTo>
                  <a:pt x="749" y="473"/>
                </a:lnTo>
                <a:lnTo>
                  <a:pt x="749" y="473"/>
                </a:lnTo>
                <a:lnTo>
                  <a:pt x="747" y="472"/>
                </a:lnTo>
                <a:lnTo>
                  <a:pt x="744" y="471"/>
                </a:lnTo>
                <a:lnTo>
                  <a:pt x="739" y="467"/>
                </a:lnTo>
                <a:lnTo>
                  <a:pt x="733" y="467"/>
                </a:lnTo>
                <a:lnTo>
                  <a:pt x="732" y="465"/>
                </a:lnTo>
                <a:lnTo>
                  <a:pt x="729" y="467"/>
                </a:lnTo>
                <a:lnTo>
                  <a:pt x="729" y="465"/>
                </a:lnTo>
                <a:lnTo>
                  <a:pt x="730" y="464"/>
                </a:lnTo>
                <a:lnTo>
                  <a:pt x="730" y="463"/>
                </a:lnTo>
                <a:lnTo>
                  <a:pt x="730" y="461"/>
                </a:lnTo>
                <a:lnTo>
                  <a:pt x="730" y="461"/>
                </a:lnTo>
                <a:lnTo>
                  <a:pt x="729" y="460"/>
                </a:lnTo>
                <a:lnTo>
                  <a:pt x="728" y="460"/>
                </a:lnTo>
                <a:lnTo>
                  <a:pt x="728" y="459"/>
                </a:lnTo>
                <a:lnTo>
                  <a:pt x="729" y="459"/>
                </a:lnTo>
                <a:lnTo>
                  <a:pt x="729" y="459"/>
                </a:lnTo>
                <a:lnTo>
                  <a:pt x="730" y="459"/>
                </a:lnTo>
                <a:lnTo>
                  <a:pt x="730" y="459"/>
                </a:lnTo>
                <a:lnTo>
                  <a:pt x="730" y="457"/>
                </a:lnTo>
                <a:lnTo>
                  <a:pt x="732" y="454"/>
                </a:lnTo>
                <a:lnTo>
                  <a:pt x="732" y="454"/>
                </a:lnTo>
                <a:lnTo>
                  <a:pt x="730" y="453"/>
                </a:lnTo>
                <a:lnTo>
                  <a:pt x="729" y="450"/>
                </a:lnTo>
                <a:lnTo>
                  <a:pt x="728" y="450"/>
                </a:lnTo>
                <a:lnTo>
                  <a:pt x="726" y="450"/>
                </a:lnTo>
                <a:lnTo>
                  <a:pt x="725" y="452"/>
                </a:lnTo>
                <a:lnTo>
                  <a:pt x="724" y="452"/>
                </a:lnTo>
                <a:lnTo>
                  <a:pt x="722" y="450"/>
                </a:lnTo>
                <a:lnTo>
                  <a:pt x="721" y="449"/>
                </a:lnTo>
                <a:lnTo>
                  <a:pt x="719" y="448"/>
                </a:lnTo>
                <a:lnTo>
                  <a:pt x="718" y="446"/>
                </a:lnTo>
                <a:lnTo>
                  <a:pt x="714" y="445"/>
                </a:lnTo>
                <a:lnTo>
                  <a:pt x="713" y="444"/>
                </a:lnTo>
                <a:lnTo>
                  <a:pt x="713" y="444"/>
                </a:lnTo>
                <a:lnTo>
                  <a:pt x="713" y="444"/>
                </a:lnTo>
                <a:lnTo>
                  <a:pt x="711" y="442"/>
                </a:lnTo>
                <a:lnTo>
                  <a:pt x="710" y="439"/>
                </a:lnTo>
                <a:lnTo>
                  <a:pt x="709" y="439"/>
                </a:lnTo>
                <a:lnTo>
                  <a:pt x="709" y="438"/>
                </a:lnTo>
                <a:lnTo>
                  <a:pt x="703" y="438"/>
                </a:lnTo>
                <a:lnTo>
                  <a:pt x="702" y="437"/>
                </a:lnTo>
                <a:lnTo>
                  <a:pt x="699" y="438"/>
                </a:lnTo>
                <a:lnTo>
                  <a:pt x="696" y="438"/>
                </a:lnTo>
                <a:lnTo>
                  <a:pt x="696" y="438"/>
                </a:lnTo>
                <a:lnTo>
                  <a:pt x="694" y="439"/>
                </a:lnTo>
                <a:lnTo>
                  <a:pt x="692" y="441"/>
                </a:lnTo>
                <a:lnTo>
                  <a:pt x="692" y="439"/>
                </a:lnTo>
                <a:lnTo>
                  <a:pt x="691" y="439"/>
                </a:lnTo>
                <a:lnTo>
                  <a:pt x="690" y="439"/>
                </a:lnTo>
                <a:lnTo>
                  <a:pt x="688" y="438"/>
                </a:lnTo>
                <a:lnTo>
                  <a:pt x="688" y="437"/>
                </a:lnTo>
                <a:lnTo>
                  <a:pt x="687" y="437"/>
                </a:lnTo>
                <a:lnTo>
                  <a:pt x="687" y="435"/>
                </a:lnTo>
                <a:lnTo>
                  <a:pt x="687" y="435"/>
                </a:lnTo>
                <a:lnTo>
                  <a:pt x="687" y="435"/>
                </a:lnTo>
                <a:lnTo>
                  <a:pt x="687" y="435"/>
                </a:lnTo>
                <a:lnTo>
                  <a:pt x="685" y="434"/>
                </a:lnTo>
                <a:lnTo>
                  <a:pt x="684" y="434"/>
                </a:lnTo>
                <a:lnTo>
                  <a:pt x="684" y="434"/>
                </a:lnTo>
                <a:lnTo>
                  <a:pt x="683" y="434"/>
                </a:lnTo>
                <a:lnTo>
                  <a:pt x="681" y="434"/>
                </a:lnTo>
                <a:lnTo>
                  <a:pt x="681" y="433"/>
                </a:lnTo>
                <a:lnTo>
                  <a:pt x="681" y="431"/>
                </a:lnTo>
                <a:lnTo>
                  <a:pt x="681" y="430"/>
                </a:lnTo>
                <a:lnTo>
                  <a:pt x="680" y="430"/>
                </a:lnTo>
                <a:lnTo>
                  <a:pt x="679" y="429"/>
                </a:lnTo>
                <a:lnTo>
                  <a:pt x="677" y="429"/>
                </a:lnTo>
                <a:lnTo>
                  <a:pt x="676" y="427"/>
                </a:lnTo>
                <a:lnTo>
                  <a:pt x="675" y="426"/>
                </a:lnTo>
                <a:lnTo>
                  <a:pt x="675" y="425"/>
                </a:lnTo>
                <a:lnTo>
                  <a:pt x="675" y="425"/>
                </a:lnTo>
                <a:lnTo>
                  <a:pt x="675" y="423"/>
                </a:lnTo>
                <a:lnTo>
                  <a:pt x="673" y="420"/>
                </a:lnTo>
                <a:lnTo>
                  <a:pt x="673" y="420"/>
                </a:lnTo>
                <a:lnTo>
                  <a:pt x="672" y="420"/>
                </a:lnTo>
                <a:lnTo>
                  <a:pt x="671" y="419"/>
                </a:lnTo>
                <a:lnTo>
                  <a:pt x="671" y="419"/>
                </a:lnTo>
                <a:lnTo>
                  <a:pt x="671" y="418"/>
                </a:lnTo>
                <a:lnTo>
                  <a:pt x="671" y="418"/>
                </a:lnTo>
                <a:lnTo>
                  <a:pt x="671" y="418"/>
                </a:lnTo>
                <a:lnTo>
                  <a:pt x="671" y="416"/>
                </a:lnTo>
                <a:lnTo>
                  <a:pt x="669" y="416"/>
                </a:lnTo>
                <a:lnTo>
                  <a:pt x="669" y="415"/>
                </a:lnTo>
                <a:lnTo>
                  <a:pt x="669" y="415"/>
                </a:lnTo>
                <a:lnTo>
                  <a:pt x="669" y="414"/>
                </a:lnTo>
                <a:lnTo>
                  <a:pt x="669" y="414"/>
                </a:lnTo>
                <a:lnTo>
                  <a:pt x="669" y="412"/>
                </a:lnTo>
                <a:lnTo>
                  <a:pt x="669" y="412"/>
                </a:lnTo>
                <a:lnTo>
                  <a:pt x="668" y="412"/>
                </a:lnTo>
                <a:lnTo>
                  <a:pt x="668" y="412"/>
                </a:lnTo>
                <a:lnTo>
                  <a:pt x="666" y="411"/>
                </a:lnTo>
                <a:lnTo>
                  <a:pt x="666" y="410"/>
                </a:lnTo>
                <a:lnTo>
                  <a:pt x="666" y="408"/>
                </a:lnTo>
                <a:lnTo>
                  <a:pt x="664" y="408"/>
                </a:lnTo>
                <a:lnTo>
                  <a:pt x="662" y="405"/>
                </a:lnTo>
                <a:lnTo>
                  <a:pt x="661" y="405"/>
                </a:lnTo>
                <a:lnTo>
                  <a:pt x="658" y="407"/>
                </a:lnTo>
                <a:lnTo>
                  <a:pt x="657" y="410"/>
                </a:lnTo>
                <a:lnTo>
                  <a:pt x="657" y="412"/>
                </a:lnTo>
                <a:lnTo>
                  <a:pt x="656" y="414"/>
                </a:lnTo>
                <a:lnTo>
                  <a:pt x="656" y="414"/>
                </a:lnTo>
                <a:lnTo>
                  <a:pt x="654" y="412"/>
                </a:lnTo>
                <a:lnTo>
                  <a:pt x="653" y="411"/>
                </a:lnTo>
                <a:lnTo>
                  <a:pt x="651" y="414"/>
                </a:lnTo>
                <a:lnTo>
                  <a:pt x="651" y="415"/>
                </a:lnTo>
                <a:lnTo>
                  <a:pt x="650" y="415"/>
                </a:lnTo>
                <a:lnTo>
                  <a:pt x="650" y="415"/>
                </a:lnTo>
                <a:lnTo>
                  <a:pt x="649" y="415"/>
                </a:lnTo>
                <a:lnTo>
                  <a:pt x="649" y="415"/>
                </a:lnTo>
                <a:lnTo>
                  <a:pt x="647" y="415"/>
                </a:lnTo>
                <a:lnTo>
                  <a:pt x="645" y="416"/>
                </a:lnTo>
                <a:lnTo>
                  <a:pt x="645" y="416"/>
                </a:lnTo>
                <a:lnTo>
                  <a:pt x="643" y="415"/>
                </a:lnTo>
                <a:lnTo>
                  <a:pt x="642" y="415"/>
                </a:lnTo>
                <a:lnTo>
                  <a:pt x="642" y="414"/>
                </a:lnTo>
                <a:lnTo>
                  <a:pt x="642" y="412"/>
                </a:lnTo>
                <a:lnTo>
                  <a:pt x="642" y="410"/>
                </a:lnTo>
                <a:lnTo>
                  <a:pt x="643" y="407"/>
                </a:lnTo>
                <a:lnTo>
                  <a:pt x="643" y="405"/>
                </a:lnTo>
                <a:lnTo>
                  <a:pt x="642" y="403"/>
                </a:lnTo>
                <a:lnTo>
                  <a:pt x="639" y="401"/>
                </a:lnTo>
                <a:lnTo>
                  <a:pt x="639" y="400"/>
                </a:lnTo>
                <a:lnTo>
                  <a:pt x="646" y="396"/>
                </a:lnTo>
                <a:lnTo>
                  <a:pt x="646" y="395"/>
                </a:lnTo>
                <a:lnTo>
                  <a:pt x="646" y="393"/>
                </a:lnTo>
                <a:lnTo>
                  <a:pt x="645" y="392"/>
                </a:lnTo>
                <a:lnTo>
                  <a:pt x="643" y="389"/>
                </a:lnTo>
                <a:lnTo>
                  <a:pt x="642" y="389"/>
                </a:lnTo>
                <a:lnTo>
                  <a:pt x="642" y="389"/>
                </a:lnTo>
                <a:lnTo>
                  <a:pt x="641" y="389"/>
                </a:lnTo>
                <a:lnTo>
                  <a:pt x="641" y="388"/>
                </a:lnTo>
                <a:lnTo>
                  <a:pt x="641" y="388"/>
                </a:lnTo>
                <a:lnTo>
                  <a:pt x="639" y="386"/>
                </a:lnTo>
                <a:lnTo>
                  <a:pt x="639" y="386"/>
                </a:lnTo>
                <a:lnTo>
                  <a:pt x="639" y="385"/>
                </a:lnTo>
                <a:lnTo>
                  <a:pt x="639" y="384"/>
                </a:lnTo>
                <a:lnTo>
                  <a:pt x="639" y="384"/>
                </a:lnTo>
                <a:lnTo>
                  <a:pt x="638" y="382"/>
                </a:lnTo>
                <a:lnTo>
                  <a:pt x="638" y="381"/>
                </a:lnTo>
                <a:lnTo>
                  <a:pt x="639" y="378"/>
                </a:lnTo>
                <a:lnTo>
                  <a:pt x="639" y="377"/>
                </a:lnTo>
                <a:lnTo>
                  <a:pt x="641" y="374"/>
                </a:lnTo>
                <a:lnTo>
                  <a:pt x="641" y="373"/>
                </a:lnTo>
                <a:lnTo>
                  <a:pt x="642" y="370"/>
                </a:lnTo>
                <a:lnTo>
                  <a:pt x="642" y="369"/>
                </a:lnTo>
                <a:lnTo>
                  <a:pt x="642" y="367"/>
                </a:lnTo>
                <a:lnTo>
                  <a:pt x="641" y="366"/>
                </a:lnTo>
                <a:lnTo>
                  <a:pt x="638" y="365"/>
                </a:lnTo>
                <a:lnTo>
                  <a:pt x="636" y="363"/>
                </a:lnTo>
                <a:lnTo>
                  <a:pt x="631" y="355"/>
                </a:lnTo>
                <a:lnTo>
                  <a:pt x="630" y="354"/>
                </a:lnTo>
                <a:lnTo>
                  <a:pt x="628" y="351"/>
                </a:lnTo>
                <a:lnTo>
                  <a:pt x="626" y="350"/>
                </a:lnTo>
                <a:lnTo>
                  <a:pt x="626" y="350"/>
                </a:lnTo>
                <a:lnTo>
                  <a:pt x="626" y="350"/>
                </a:lnTo>
                <a:lnTo>
                  <a:pt x="624" y="350"/>
                </a:lnTo>
                <a:lnTo>
                  <a:pt x="624" y="348"/>
                </a:lnTo>
                <a:lnTo>
                  <a:pt x="626" y="348"/>
                </a:lnTo>
                <a:lnTo>
                  <a:pt x="626" y="346"/>
                </a:lnTo>
                <a:lnTo>
                  <a:pt x="624" y="340"/>
                </a:lnTo>
                <a:lnTo>
                  <a:pt x="623" y="339"/>
                </a:lnTo>
                <a:lnTo>
                  <a:pt x="623" y="339"/>
                </a:lnTo>
                <a:lnTo>
                  <a:pt x="623" y="338"/>
                </a:lnTo>
                <a:lnTo>
                  <a:pt x="624" y="338"/>
                </a:lnTo>
                <a:lnTo>
                  <a:pt x="624" y="338"/>
                </a:lnTo>
                <a:lnTo>
                  <a:pt x="624" y="336"/>
                </a:lnTo>
                <a:lnTo>
                  <a:pt x="624" y="336"/>
                </a:lnTo>
                <a:lnTo>
                  <a:pt x="622" y="332"/>
                </a:lnTo>
                <a:lnTo>
                  <a:pt x="620" y="329"/>
                </a:lnTo>
                <a:lnTo>
                  <a:pt x="620" y="328"/>
                </a:lnTo>
                <a:lnTo>
                  <a:pt x="622" y="327"/>
                </a:lnTo>
                <a:lnTo>
                  <a:pt x="624" y="327"/>
                </a:lnTo>
                <a:lnTo>
                  <a:pt x="632" y="325"/>
                </a:lnTo>
                <a:lnTo>
                  <a:pt x="635" y="325"/>
                </a:lnTo>
                <a:lnTo>
                  <a:pt x="636" y="325"/>
                </a:lnTo>
                <a:lnTo>
                  <a:pt x="638" y="324"/>
                </a:lnTo>
                <a:lnTo>
                  <a:pt x="639" y="321"/>
                </a:lnTo>
                <a:lnTo>
                  <a:pt x="641" y="321"/>
                </a:lnTo>
                <a:lnTo>
                  <a:pt x="642" y="321"/>
                </a:lnTo>
                <a:lnTo>
                  <a:pt x="642" y="323"/>
                </a:lnTo>
                <a:lnTo>
                  <a:pt x="642" y="324"/>
                </a:lnTo>
                <a:lnTo>
                  <a:pt x="642" y="325"/>
                </a:lnTo>
                <a:lnTo>
                  <a:pt x="642" y="327"/>
                </a:lnTo>
                <a:lnTo>
                  <a:pt x="642" y="328"/>
                </a:lnTo>
                <a:lnTo>
                  <a:pt x="643" y="331"/>
                </a:lnTo>
                <a:lnTo>
                  <a:pt x="643" y="333"/>
                </a:lnTo>
                <a:lnTo>
                  <a:pt x="649" y="338"/>
                </a:lnTo>
                <a:lnTo>
                  <a:pt x="650" y="339"/>
                </a:lnTo>
                <a:lnTo>
                  <a:pt x="653" y="342"/>
                </a:lnTo>
                <a:lnTo>
                  <a:pt x="654" y="342"/>
                </a:lnTo>
                <a:lnTo>
                  <a:pt x="656" y="340"/>
                </a:lnTo>
                <a:lnTo>
                  <a:pt x="657" y="340"/>
                </a:lnTo>
                <a:lnTo>
                  <a:pt x="658" y="340"/>
                </a:lnTo>
                <a:lnTo>
                  <a:pt x="660" y="339"/>
                </a:lnTo>
                <a:lnTo>
                  <a:pt x="660" y="340"/>
                </a:lnTo>
                <a:lnTo>
                  <a:pt x="661" y="340"/>
                </a:lnTo>
                <a:lnTo>
                  <a:pt x="662" y="340"/>
                </a:lnTo>
                <a:lnTo>
                  <a:pt x="664" y="339"/>
                </a:lnTo>
                <a:lnTo>
                  <a:pt x="664" y="335"/>
                </a:lnTo>
                <a:lnTo>
                  <a:pt x="665" y="332"/>
                </a:lnTo>
                <a:lnTo>
                  <a:pt x="665" y="332"/>
                </a:lnTo>
                <a:lnTo>
                  <a:pt x="668" y="331"/>
                </a:lnTo>
                <a:lnTo>
                  <a:pt x="669" y="331"/>
                </a:lnTo>
                <a:lnTo>
                  <a:pt x="671" y="331"/>
                </a:lnTo>
                <a:lnTo>
                  <a:pt x="672" y="331"/>
                </a:lnTo>
                <a:lnTo>
                  <a:pt x="673" y="331"/>
                </a:lnTo>
                <a:lnTo>
                  <a:pt x="675" y="332"/>
                </a:lnTo>
                <a:lnTo>
                  <a:pt x="676" y="331"/>
                </a:lnTo>
                <a:lnTo>
                  <a:pt x="679" y="328"/>
                </a:lnTo>
                <a:lnTo>
                  <a:pt x="684" y="324"/>
                </a:lnTo>
                <a:lnTo>
                  <a:pt x="687" y="321"/>
                </a:lnTo>
                <a:lnTo>
                  <a:pt x="688" y="318"/>
                </a:lnTo>
                <a:lnTo>
                  <a:pt x="688" y="316"/>
                </a:lnTo>
                <a:lnTo>
                  <a:pt x="688" y="313"/>
                </a:lnTo>
                <a:lnTo>
                  <a:pt x="687" y="312"/>
                </a:lnTo>
                <a:lnTo>
                  <a:pt x="685" y="310"/>
                </a:lnTo>
                <a:lnTo>
                  <a:pt x="684" y="308"/>
                </a:lnTo>
                <a:lnTo>
                  <a:pt x="684" y="306"/>
                </a:lnTo>
                <a:lnTo>
                  <a:pt x="683" y="304"/>
                </a:lnTo>
                <a:lnTo>
                  <a:pt x="679" y="301"/>
                </a:lnTo>
                <a:lnTo>
                  <a:pt x="677" y="298"/>
                </a:lnTo>
                <a:lnTo>
                  <a:pt x="677" y="295"/>
                </a:lnTo>
                <a:lnTo>
                  <a:pt x="679" y="294"/>
                </a:lnTo>
                <a:lnTo>
                  <a:pt x="679" y="291"/>
                </a:lnTo>
                <a:lnTo>
                  <a:pt x="679" y="290"/>
                </a:lnTo>
                <a:lnTo>
                  <a:pt x="680" y="287"/>
                </a:lnTo>
                <a:lnTo>
                  <a:pt x="681" y="286"/>
                </a:lnTo>
                <a:lnTo>
                  <a:pt x="680" y="283"/>
                </a:lnTo>
                <a:lnTo>
                  <a:pt x="679" y="283"/>
                </a:lnTo>
                <a:lnTo>
                  <a:pt x="673" y="283"/>
                </a:lnTo>
                <a:lnTo>
                  <a:pt x="672" y="282"/>
                </a:lnTo>
                <a:lnTo>
                  <a:pt x="666" y="279"/>
                </a:lnTo>
                <a:lnTo>
                  <a:pt x="665" y="279"/>
                </a:lnTo>
                <a:lnTo>
                  <a:pt x="662" y="280"/>
                </a:lnTo>
                <a:lnTo>
                  <a:pt x="662" y="279"/>
                </a:lnTo>
                <a:lnTo>
                  <a:pt x="662" y="278"/>
                </a:lnTo>
                <a:lnTo>
                  <a:pt x="662" y="276"/>
                </a:lnTo>
                <a:lnTo>
                  <a:pt x="661" y="276"/>
                </a:lnTo>
                <a:lnTo>
                  <a:pt x="660" y="275"/>
                </a:lnTo>
                <a:lnTo>
                  <a:pt x="660" y="275"/>
                </a:lnTo>
                <a:lnTo>
                  <a:pt x="657" y="274"/>
                </a:lnTo>
                <a:lnTo>
                  <a:pt x="656" y="274"/>
                </a:lnTo>
                <a:lnTo>
                  <a:pt x="653" y="268"/>
                </a:lnTo>
                <a:lnTo>
                  <a:pt x="653" y="268"/>
                </a:lnTo>
                <a:lnTo>
                  <a:pt x="653" y="267"/>
                </a:lnTo>
                <a:lnTo>
                  <a:pt x="651" y="265"/>
                </a:lnTo>
                <a:lnTo>
                  <a:pt x="651" y="264"/>
                </a:lnTo>
                <a:lnTo>
                  <a:pt x="653" y="260"/>
                </a:lnTo>
                <a:lnTo>
                  <a:pt x="651" y="259"/>
                </a:lnTo>
                <a:lnTo>
                  <a:pt x="651" y="255"/>
                </a:lnTo>
                <a:lnTo>
                  <a:pt x="650" y="253"/>
                </a:lnTo>
                <a:lnTo>
                  <a:pt x="651" y="252"/>
                </a:lnTo>
                <a:lnTo>
                  <a:pt x="653" y="250"/>
                </a:lnTo>
                <a:lnTo>
                  <a:pt x="654" y="250"/>
                </a:lnTo>
                <a:lnTo>
                  <a:pt x="656" y="250"/>
                </a:lnTo>
                <a:lnTo>
                  <a:pt x="658" y="252"/>
                </a:lnTo>
                <a:lnTo>
                  <a:pt x="658" y="250"/>
                </a:lnTo>
                <a:lnTo>
                  <a:pt x="658" y="249"/>
                </a:lnTo>
                <a:lnTo>
                  <a:pt x="657" y="245"/>
                </a:lnTo>
                <a:lnTo>
                  <a:pt x="657" y="244"/>
                </a:lnTo>
                <a:lnTo>
                  <a:pt x="657" y="242"/>
                </a:lnTo>
                <a:lnTo>
                  <a:pt x="656" y="241"/>
                </a:lnTo>
                <a:lnTo>
                  <a:pt x="654" y="238"/>
                </a:lnTo>
                <a:lnTo>
                  <a:pt x="653" y="236"/>
                </a:lnTo>
                <a:lnTo>
                  <a:pt x="653" y="233"/>
                </a:lnTo>
                <a:lnTo>
                  <a:pt x="651" y="230"/>
                </a:lnTo>
                <a:lnTo>
                  <a:pt x="651" y="227"/>
                </a:lnTo>
                <a:lnTo>
                  <a:pt x="651" y="225"/>
                </a:lnTo>
                <a:lnTo>
                  <a:pt x="654" y="223"/>
                </a:lnTo>
                <a:lnTo>
                  <a:pt x="660" y="223"/>
                </a:lnTo>
                <a:lnTo>
                  <a:pt x="661" y="225"/>
                </a:lnTo>
                <a:lnTo>
                  <a:pt x="662" y="225"/>
                </a:lnTo>
                <a:lnTo>
                  <a:pt x="662" y="223"/>
                </a:lnTo>
                <a:lnTo>
                  <a:pt x="664" y="223"/>
                </a:lnTo>
                <a:lnTo>
                  <a:pt x="664" y="222"/>
                </a:lnTo>
                <a:lnTo>
                  <a:pt x="665" y="222"/>
                </a:lnTo>
                <a:lnTo>
                  <a:pt x="680" y="223"/>
                </a:lnTo>
                <a:lnTo>
                  <a:pt x="683" y="222"/>
                </a:lnTo>
                <a:lnTo>
                  <a:pt x="685" y="219"/>
                </a:lnTo>
                <a:lnTo>
                  <a:pt x="687" y="218"/>
                </a:lnTo>
                <a:lnTo>
                  <a:pt x="688" y="216"/>
                </a:lnTo>
                <a:lnTo>
                  <a:pt x="688" y="215"/>
                </a:lnTo>
                <a:lnTo>
                  <a:pt x="687" y="212"/>
                </a:lnTo>
                <a:lnTo>
                  <a:pt x="687" y="211"/>
                </a:lnTo>
                <a:lnTo>
                  <a:pt x="688" y="211"/>
                </a:lnTo>
                <a:lnTo>
                  <a:pt x="688" y="211"/>
                </a:lnTo>
                <a:lnTo>
                  <a:pt x="690" y="211"/>
                </a:lnTo>
                <a:lnTo>
                  <a:pt x="691" y="208"/>
                </a:lnTo>
                <a:lnTo>
                  <a:pt x="691" y="206"/>
                </a:lnTo>
                <a:lnTo>
                  <a:pt x="690" y="199"/>
                </a:lnTo>
                <a:lnTo>
                  <a:pt x="688" y="196"/>
                </a:lnTo>
                <a:lnTo>
                  <a:pt x="688" y="195"/>
                </a:lnTo>
                <a:lnTo>
                  <a:pt x="690" y="193"/>
                </a:lnTo>
                <a:lnTo>
                  <a:pt x="691" y="193"/>
                </a:lnTo>
                <a:lnTo>
                  <a:pt x="695" y="195"/>
                </a:lnTo>
                <a:lnTo>
                  <a:pt x="698" y="195"/>
                </a:lnTo>
                <a:lnTo>
                  <a:pt x="700" y="195"/>
                </a:lnTo>
                <a:lnTo>
                  <a:pt x="700" y="193"/>
                </a:lnTo>
                <a:lnTo>
                  <a:pt x="702" y="192"/>
                </a:lnTo>
                <a:lnTo>
                  <a:pt x="702" y="191"/>
                </a:lnTo>
                <a:lnTo>
                  <a:pt x="702" y="189"/>
                </a:lnTo>
                <a:lnTo>
                  <a:pt x="700" y="189"/>
                </a:lnTo>
                <a:lnTo>
                  <a:pt x="700" y="188"/>
                </a:lnTo>
                <a:lnTo>
                  <a:pt x="700" y="187"/>
                </a:lnTo>
                <a:lnTo>
                  <a:pt x="700" y="185"/>
                </a:lnTo>
                <a:lnTo>
                  <a:pt x="702" y="185"/>
                </a:lnTo>
                <a:lnTo>
                  <a:pt x="703" y="184"/>
                </a:lnTo>
                <a:lnTo>
                  <a:pt x="706" y="184"/>
                </a:lnTo>
                <a:lnTo>
                  <a:pt x="707" y="182"/>
                </a:lnTo>
                <a:lnTo>
                  <a:pt x="709" y="182"/>
                </a:lnTo>
                <a:lnTo>
                  <a:pt x="709" y="181"/>
                </a:lnTo>
                <a:lnTo>
                  <a:pt x="709" y="178"/>
                </a:lnTo>
                <a:lnTo>
                  <a:pt x="709" y="177"/>
                </a:lnTo>
                <a:lnTo>
                  <a:pt x="710" y="177"/>
                </a:lnTo>
                <a:lnTo>
                  <a:pt x="713" y="176"/>
                </a:lnTo>
                <a:lnTo>
                  <a:pt x="714" y="177"/>
                </a:lnTo>
                <a:lnTo>
                  <a:pt x="718" y="177"/>
                </a:lnTo>
                <a:lnTo>
                  <a:pt x="721" y="177"/>
                </a:lnTo>
                <a:lnTo>
                  <a:pt x="721" y="176"/>
                </a:lnTo>
                <a:lnTo>
                  <a:pt x="722" y="170"/>
                </a:lnTo>
                <a:lnTo>
                  <a:pt x="724" y="168"/>
                </a:lnTo>
                <a:lnTo>
                  <a:pt x="724" y="166"/>
                </a:lnTo>
                <a:lnTo>
                  <a:pt x="728" y="162"/>
                </a:lnTo>
                <a:lnTo>
                  <a:pt x="729" y="161"/>
                </a:lnTo>
                <a:lnTo>
                  <a:pt x="729" y="159"/>
                </a:lnTo>
                <a:lnTo>
                  <a:pt x="729" y="146"/>
                </a:lnTo>
                <a:lnTo>
                  <a:pt x="729" y="144"/>
                </a:lnTo>
                <a:lnTo>
                  <a:pt x="732" y="142"/>
                </a:lnTo>
                <a:lnTo>
                  <a:pt x="733" y="139"/>
                </a:lnTo>
                <a:lnTo>
                  <a:pt x="734" y="138"/>
                </a:lnTo>
                <a:lnTo>
                  <a:pt x="734" y="135"/>
                </a:lnTo>
                <a:lnTo>
                  <a:pt x="734" y="132"/>
                </a:lnTo>
                <a:lnTo>
                  <a:pt x="733" y="129"/>
                </a:lnTo>
                <a:lnTo>
                  <a:pt x="734" y="127"/>
                </a:lnTo>
                <a:lnTo>
                  <a:pt x="739" y="123"/>
                </a:lnTo>
                <a:lnTo>
                  <a:pt x="740" y="121"/>
                </a:lnTo>
                <a:lnTo>
                  <a:pt x="740" y="117"/>
                </a:lnTo>
                <a:lnTo>
                  <a:pt x="740" y="117"/>
                </a:lnTo>
                <a:lnTo>
                  <a:pt x="740" y="114"/>
                </a:lnTo>
                <a:lnTo>
                  <a:pt x="739" y="114"/>
                </a:lnTo>
                <a:lnTo>
                  <a:pt x="737" y="114"/>
                </a:lnTo>
                <a:lnTo>
                  <a:pt x="737" y="114"/>
                </a:lnTo>
                <a:lnTo>
                  <a:pt x="736" y="114"/>
                </a:lnTo>
                <a:lnTo>
                  <a:pt x="736" y="116"/>
                </a:lnTo>
                <a:lnTo>
                  <a:pt x="734" y="114"/>
                </a:lnTo>
                <a:lnTo>
                  <a:pt x="734" y="114"/>
                </a:lnTo>
                <a:lnTo>
                  <a:pt x="733" y="114"/>
                </a:lnTo>
                <a:lnTo>
                  <a:pt x="733" y="112"/>
                </a:lnTo>
                <a:lnTo>
                  <a:pt x="732" y="112"/>
                </a:lnTo>
                <a:lnTo>
                  <a:pt x="729" y="112"/>
                </a:lnTo>
                <a:lnTo>
                  <a:pt x="729" y="112"/>
                </a:lnTo>
                <a:lnTo>
                  <a:pt x="726" y="117"/>
                </a:lnTo>
                <a:lnTo>
                  <a:pt x="726" y="119"/>
                </a:lnTo>
                <a:lnTo>
                  <a:pt x="725" y="120"/>
                </a:lnTo>
                <a:lnTo>
                  <a:pt x="722" y="123"/>
                </a:lnTo>
                <a:lnTo>
                  <a:pt x="721" y="123"/>
                </a:lnTo>
                <a:lnTo>
                  <a:pt x="719" y="121"/>
                </a:lnTo>
                <a:lnTo>
                  <a:pt x="718" y="120"/>
                </a:lnTo>
                <a:lnTo>
                  <a:pt x="717" y="117"/>
                </a:lnTo>
                <a:lnTo>
                  <a:pt x="717" y="114"/>
                </a:lnTo>
                <a:lnTo>
                  <a:pt x="715" y="112"/>
                </a:lnTo>
                <a:lnTo>
                  <a:pt x="714" y="109"/>
                </a:lnTo>
                <a:lnTo>
                  <a:pt x="713" y="106"/>
                </a:lnTo>
                <a:lnTo>
                  <a:pt x="711" y="108"/>
                </a:lnTo>
                <a:lnTo>
                  <a:pt x="710" y="109"/>
                </a:lnTo>
                <a:lnTo>
                  <a:pt x="710" y="110"/>
                </a:lnTo>
                <a:lnTo>
                  <a:pt x="709" y="110"/>
                </a:lnTo>
                <a:lnTo>
                  <a:pt x="707" y="110"/>
                </a:lnTo>
                <a:lnTo>
                  <a:pt x="706" y="109"/>
                </a:lnTo>
                <a:lnTo>
                  <a:pt x="706" y="108"/>
                </a:lnTo>
                <a:lnTo>
                  <a:pt x="706" y="106"/>
                </a:lnTo>
                <a:lnTo>
                  <a:pt x="705" y="106"/>
                </a:lnTo>
                <a:lnTo>
                  <a:pt x="699" y="105"/>
                </a:lnTo>
                <a:lnTo>
                  <a:pt x="698" y="104"/>
                </a:lnTo>
                <a:lnTo>
                  <a:pt x="696" y="100"/>
                </a:lnTo>
                <a:lnTo>
                  <a:pt x="695" y="97"/>
                </a:lnTo>
                <a:lnTo>
                  <a:pt x="695" y="97"/>
                </a:lnTo>
                <a:lnTo>
                  <a:pt x="695" y="95"/>
                </a:lnTo>
                <a:lnTo>
                  <a:pt x="696" y="94"/>
                </a:lnTo>
                <a:lnTo>
                  <a:pt x="696" y="93"/>
                </a:lnTo>
                <a:lnTo>
                  <a:pt x="695" y="91"/>
                </a:lnTo>
                <a:lnTo>
                  <a:pt x="695" y="91"/>
                </a:lnTo>
                <a:lnTo>
                  <a:pt x="694" y="91"/>
                </a:lnTo>
                <a:lnTo>
                  <a:pt x="692" y="90"/>
                </a:lnTo>
                <a:lnTo>
                  <a:pt x="692" y="90"/>
                </a:lnTo>
                <a:lnTo>
                  <a:pt x="692" y="90"/>
                </a:lnTo>
                <a:lnTo>
                  <a:pt x="692" y="89"/>
                </a:lnTo>
                <a:lnTo>
                  <a:pt x="691" y="89"/>
                </a:lnTo>
                <a:lnTo>
                  <a:pt x="690" y="89"/>
                </a:lnTo>
                <a:lnTo>
                  <a:pt x="687" y="90"/>
                </a:lnTo>
                <a:lnTo>
                  <a:pt x="684" y="89"/>
                </a:lnTo>
                <a:lnTo>
                  <a:pt x="683" y="87"/>
                </a:lnTo>
                <a:lnTo>
                  <a:pt x="684" y="85"/>
                </a:lnTo>
                <a:lnTo>
                  <a:pt x="683" y="83"/>
                </a:lnTo>
                <a:lnTo>
                  <a:pt x="681" y="82"/>
                </a:lnTo>
                <a:lnTo>
                  <a:pt x="680" y="80"/>
                </a:lnTo>
                <a:lnTo>
                  <a:pt x="677" y="80"/>
                </a:lnTo>
                <a:lnTo>
                  <a:pt x="675" y="80"/>
                </a:lnTo>
                <a:lnTo>
                  <a:pt x="669" y="83"/>
                </a:lnTo>
                <a:lnTo>
                  <a:pt x="661" y="83"/>
                </a:lnTo>
                <a:lnTo>
                  <a:pt x="654" y="86"/>
                </a:lnTo>
                <a:lnTo>
                  <a:pt x="653" y="86"/>
                </a:lnTo>
                <a:lnTo>
                  <a:pt x="650" y="86"/>
                </a:lnTo>
                <a:lnTo>
                  <a:pt x="646" y="85"/>
                </a:lnTo>
                <a:lnTo>
                  <a:pt x="643" y="85"/>
                </a:lnTo>
                <a:lnTo>
                  <a:pt x="642" y="85"/>
                </a:lnTo>
                <a:lnTo>
                  <a:pt x="639" y="86"/>
                </a:lnTo>
                <a:lnTo>
                  <a:pt x="639" y="86"/>
                </a:lnTo>
                <a:lnTo>
                  <a:pt x="638" y="89"/>
                </a:lnTo>
                <a:lnTo>
                  <a:pt x="636" y="90"/>
                </a:lnTo>
                <a:lnTo>
                  <a:pt x="630" y="94"/>
                </a:lnTo>
                <a:lnTo>
                  <a:pt x="628" y="95"/>
                </a:lnTo>
                <a:lnTo>
                  <a:pt x="623" y="95"/>
                </a:lnTo>
                <a:lnTo>
                  <a:pt x="622" y="97"/>
                </a:lnTo>
                <a:lnTo>
                  <a:pt x="619" y="98"/>
                </a:lnTo>
                <a:lnTo>
                  <a:pt x="617" y="100"/>
                </a:lnTo>
                <a:lnTo>
                  <a:pt x="615" y="101"/>
                </a:lnTo>
                <a:lnTo>
                  <a:pt x="613" y="101"/>
                </a:lnTo>
                <a:lnTo>
                  <a:pt x="613" y="102"/>
                </a:lnTo>
                <a:lnTo>
                  <a:pt x="612" y="104"/>
                </a:lnTo>
                <a:lnTo>
                  <a:pt x="611" y="105"/>
                </a:lnTo>
                <a:lnTo>
                  <a:pt x="608" y="105"/>
                </a:lnTo>
                <a:lnTo>
                  <a:pt x="607" y="106"/>
                </a:lnTo>
                <a:lnTo>
                  <a:pt x="605" y="108"/>
                </a:lnTo>
                <a:lnTo>
                  <a:pt x="605" y="109"/>
                </a:lnTo>
                <a:lnTo>
                  <a:pt x="604" y="112"/>
                </a:lnTo>
                <a:lnTo>
                  <a:pt x="604" y="112"/>
                </a:lnTo>
                <a:lnTo>
                  <a:pt x="601" y="112"/>
                </a:lnTo>
                <a:lnTo>
                  <a:pt x="596" y="110"/>
                </a:lnTo>
                <a:lnTo>
                  <a:pt x="594" y="110"/>
                </a:lnTo>
                <a:lnTo>
                  <a:pt x="593" y="112"/>
                </a:lnTo>
                <a:lnTo>
                  <a:pt x="593" y="113"/>
                </a:lnTo>
                <a:lnTo>
                  <a:pt x="592" y="116"/>
                </a:lnTo>
                <a:lnTo>
                  <a:pt x="590" y="116"/>
                </a:lnTo>
                <a:lnTo>
                  <a:pt x="589" y="116"/>
                </a:lnTo>
                <a:lnTo>
                  <a:pt x="586" y="116"/>
                </a:lnTo>
                <a:lnTo>
                  <a:pt x="585" y="116"/>
                </a:lnTo>
                <a:lnTo>
                  <a:pt x="583" y="116"/>
                </a:lnTo>
                <a:lnTo>
                  <a:pt x="582" y="116"/>
                </a:lnTo>
                <a:lnTo>
                  <a:pt x="582" y="116"/>
                </a:lnTo>
                <a:lnTo>
                  <a:pt x="579" y="117"/>
                </a:lnTo>
                <a:lnTo>
                  <a:pt x="578" y="117"/>
                </a:lnTo>
                <a:lnTo>
                  <a:pt x="577" y="119"/>
                </a:lnTo>
                <a:lnTo>
                  <a:pt x="568" y="117"/>
                </a:lnTo>
                <a:lnTo>
                  <a:pt x="568" y="116"/>
                </a:lnTo>
                <a:lnTo>
                  <a:pt x="567" y="109"/>
                </a:lnTo>
                <a:lnTo>
                  <a:pt x="564" y="104"/>
                </a:lnTo>
                <a:lnTo>
                  <a:pt x="562" y="105"/>
                </a:lnTo>
                <a:lnTo>
                  <a:pt x="558" y="100"/>
                </a:lnTo>
                <a:lnTo>
                  <a:pt x="555" y="100"/>
                </a:lnTo>
                <a:lnTo>
                  <a:pt x="549" y="100"/>
                </a:lnTo>
                <a:lnTo>
                  <a:pt x="544" y="98"/>
                </a:lnTo>
                <a:lnTo>
                  <a:pt x="541" y="98"/>
                </a:lnTo>
                <a:lnTo>
                  <a:pt x="541" y="94"/>
                </a:lnTo>
                <a:lnTo>
                  <a:pt x="537" y="91"/>
                </a:lnTo>
                <a:lnTo>
                  <a:pt x="533" y="90"/>
                </a:lnTo>
                <a:lnTo>
                  <a:pt x="526" y="89"/>
                </a:lnTo>
                <a:lnTo>
                  <a:pt x="524" y="85"/>
                </a:lnTo>
                <a:lnTo>
                  <a:pt x="524" y="75"/>
                </a:lnTo>
                <a:lnTo>
                  <a:pt x="522" y="71"/>
                </a:lnTo>
                <a:lnTo>
                  <a:pt x="520" y="67"/>
                </a:lnTo>
                <a:lnTo>
                  <a:pt x="517" y="64"/>
                </a:lnTo>
                <a:lnTo>
                  <a:pt x="510" y="64"/>
                </a:lnTo>
                <a:lnTo>
                  <a:pt x="505" y="63"/>
                </a:lnTo>
                <a:lnTo>
                  <a:pt x="502" y="61"/>
                </a:lnTo>
                <a:lnTo>
                  <a:pt x="499" y="56"/>
                </a:lnTo>
                <a:lnTo>
                  <a:pt x="495" y="55"/>
                </a:lnTo>
                <a:lnTo>
                  <a:pt x="491" y="55"/>
                </a:lnTo>
                <a:lnTo>
                  <a:pt x="486" y="47"/>
                </a:lnTo>
                <a:lnTo>
                  <a:pt x="475" y="45"/>
                </a:lnTo>
                <a:lnTo>
                  <a:pt x="475" y="44"/>
                </a:lnTo>
                <a:lnTo>
                  <a:pt x="475" y="44"/>
                </a:lnTo>
                <a:lnTo>
                  <a:pt x="468" y="33"/>
                </a:lnTo>
                <a:lnTo>
                  <a:pt x="466" y="30"/>
                </a:lnTo>
                <a:lnTo>
                  <a:pt x="464" y="27"/>
                </a:lnTo>
                <a:lnTo>
                  <a:pt x="460" y="25"/>
                </a:lnTo>
                <a:lnTo>
                  <a:pt x="454" y="22"/>
                </a:lnTo>
                <a:lnTo>
                  <a:pt x="450" y="22"/>
                </a:lnTo>
                <a:lnTo>
                  <a:pt x="446" y="23"/>
                </a:lnTo>
                <a:lnTo>
                  <a:pt x="446" y="23"/>
                </a:lnTo>
                <a:lnTo>
                  <a:pt x="446" y="25"/>
                </a:lnTo>
                <a:lnTo>
                  <a:pt x="445" y="25"/>
                </a:lnTo>
                <a:lnTo>
                  <a:pt x="442" y="25"/>
                </a:lnTo>
                <a:lnTo>
                  <a:pt x="441" y="23"/>
                </a:lnTo>
                <a:lnTo>
                  <a:pt x="439" y="21"/>
                </a:lnTo>
                <a:lnTo>
                  <a:pt x="439" y="18"/>
                </a:lnTo>
                <a:lnTo>
                  <a:pt x="439" y="14"/>
                </a:lnTo>
                <a:lnTo>
                  <a:pt x="438" y="13"/>
                </a:lnTo>
                <a:lnTo>
                  <a:pt x="437" y="11"/>
                </a:lnTo>
                <a:lnTo>
                  <a:pt x="434" y="10"/>
                </a:lnTo>
                <a:lnTo>
                  <a:pt x="427" y="8"/>
                </a:lnTo>
                <a:lnTo>
                  <a:pt x="426" y="7"/>
                </a:lnTo>
                <a:lnTo>
                  <a:pt x="423" y="6"/>
                </a:lnTo>
                <a:lnTo>
                  <a:pt x="423" y="4"/>
                </a:lnTo>
                <a:lnTo>
                  <a:pt x="422" y="4"/>
                </a:lnTo>
                <a:lnTo>
                  <a:pt x="416" y="6"/>
                </a:lnTo>
                <a:lnTo>
                  <a:pt x="413" y="6"/>
                </a:lnTo>
                <a:lnTo>
                  <a:pt x="412" y="6"/>
                </a:lnTo>
                <a:lnTo>
                  <a:pt x="411" y="7"/>
                </a:lnTo>
                <a:lnTo>
                  <a:pt x="409" y="7"/>
                </a:lnTo>
                <a:lnTo>
                  <a:pt x="409" y="8"/>
                </a:lnTo>
                <a:lnTo>
                  <a:pt x="409" y="10"/>
                </a:lnTo>
                <a:lnTo>
                  <a:pt x="408" y="11"/>
                </a:lnTo>
                <a:lnTo>
                  <a:pt x="408" y="11"/>
                </a:lnTo>
                <a:lnTo>
                  <a:pt x="408" y="11"/>
                </a:lnTo>
                <a:lnTo>
                  <a:pt x="407" y="8"/>
                </a:lnTo>
                <a:lnTo>
                  <a:pt x="407" y="7"/>
                </a:lnTo>
                <a:lnTo>
                  <a:pt x="405" y="4"/>
                </a:lnTo>
                <a:lnTo>
                  <a:pt x="405" y="4"/>
                </a:lnTo>
                <a:lnTo>
                  <a:pt x="403" y="3"/>
                </a:lnTo>
                <a:lnTo>
                  <a:pt x="398" y="3"/>
                </a:lnTo>
                <a:lnTo>
                  <a:pt x="397" y="2"/>
                </a:lnTo>
                <a:lnTo>
                  <a:pt x="396" y="0"/>
                </a:lnTo>
                <a:lnTo>
                  <a:pt x="394" y="0"/>
                </a:lnTo>
                <a:lnTo>
                  <a:pt x="393" y="2"/>
                </a:lnTo>
                <a:lnTo>
                  <a:pt x="389" y="2"/>
                </a:lnTo>
                <a:lnTo>
                  <a:pt x="388" y="3"/>
                </a:lnTo>
                <a:lnTo>
                  <a:pt x="388" y="3"/>
                </a:lnTo>
                <a:lnTo>
                  <a:pt x="388" y="3"/>
                </a:lnTo>
                <a:lnTo>
                  <a:pt x="388" y="4"/>
                </a:lnTo>
                <a:lnTo>
                  <a:pt x="388" y="4"/>
                </a:lnTo>
                <a:lnTo>
                  <a:pt x="388" y="7"/>
                </a:lnTo>
                <a:lnTo>
                  <a:pt x="386" y="7"/>
                </a:lnTo>
                <a:lnTo>
                  <a:pt x="385" y="7"/>
                </a:lnTo>
                <a:lnTo>
                  <a:pt x="384" y="4"/>
                </a:lnTo>
                <a:lnTo>
                  <a:pt x="384" y="4"/>
                </a:lnTo>
                <a:lnTo>
                  <a:pt x="384" y="4"/>
                </a:lnTo>
                <a:lnTo>
                  <a:pt x="382" y="4"/>
                </a:lnTo>
                <a:lnTo>
                  <a:pt x="381" y="4"/>
                </a:lnTo>
                <a:lnTo>
                  <a:pt x="378" y="4"/>
                </a:lnTo>
                <a:lnTo>
                  <a:pt x="377" y="6"/>
                </a:lnTo>
                <a:lnTo>
                  <a:pt x="373" y="10"/>
                </a:lnTo>
                <a:lnTo>
                  <a:pt x="369" y="11"/>
                </a:lnTo>
                <a:lnTo>
                  <a:pt x="367" y="13"/>
                </a:lnTo>
                <a:lnTo>
                  <a:pt x="363" y="11"/>
                </a:lnTo>
                <a:lnTo>
                  <a:pt x="363" y="13"/>
                </a:lnTo>
                <a:lnTo>
                  <a:pt x="362" y="13"/>
                </a:lnTo>
                <a:lnTo>
                  <a:pt x="362" y="14"/>
                </a:lnTo>
                <a:lnTo>
                  <a:pt x="362" y="17"/>
                </a:lnTo>
                <a:lnTo>
                  <a:pt x="360" y="17"/>
                </a:lnTo>
                <a:lnTo>
                  <a:pt x="358" y="18"/>
                </a:lnTo>
                <a:lnTo>
                  <a:pt x="355" y="18"/>
                </a:lnTo>
                <a:lnTo>
                  <a:pt x="354" y="18"/>
                </a:lnTo>
                <a:lnTo>
                  <a:pt x="352" y="17"/>
                </a:lnTo>
                <a:lnTo>
                  <a:pt x="347" y="14"/>
                </a:lnTo>
                <a:lnTo>
                  <a:pt x="345" y="13"/>
                </a:lnTo>
                <a:lnTo>
                  <a:pt x="341" y="13"/>
                </a:lnTo>
                <a:lnTo>
                  <a:pt x="337" y="13"/>
                </a:lnTo>
                <a:lnTo>
                  <a:pt x="337" y="13"/>
                </a:lnTo>
                <a:lnTo>
                  <a:pt x="337" y="14"/>
                </a:lnTo>
                <a:lnTo>
                  <a:pt x="337" y="15"/>
                </a:lnTo>
                <a:lnTo>
                  <a:pt x="337" y="15"/>
                </a:lnTo>
                <a:lnTo>
                  <a:pt x="337" y="15"/>
                </a:lnTo>
                <a:lnTo>
                  <a:pt x="337" y="15"/>
                </a:lnTo>
                <a:lnTo>
                  <a:pt x="337" y="15"/>
                </a:lnTo>
                <a:lnTo>
                  <a:pt x="339" y="15"/>
                </a:lnTo>
                <a:lnTo>
                  <a:pt x="339" y="15"/>
                </a:lnTo>
                <a:lnTo>
                  <a:pt x="339" y="15"/>
                </a:lnTo>
                <a:lnTo>
                  <a:pt x="339" y="17"/>
                </a:lnTo>
                <a:lnTo>
                  <a:pt x="341" y="17"/>
                </a:lnTo>
                <a:lnTo>
                  <a:pt x="341" y="17"/>
                </a:lnTo>
                <a:lnTo>
                  <a:pt x="343" y="17"/>
                </a:lnTo>
                <a:lnTo>
                  <a:pt x="343" y="17"/>
                </a:lnTo>
                <a:lnTo>
                  <a:pt x="344" y="18"/>
                </a:lnTo>
                <a:lnTo>
                  <a:pt x="344" y="18"/>
                </a:lnTo>
                <a:lnTo>
                  <a:pt x="347" y="21"/>
                </a:lnTo>
                <a:lnTo>
                  <a:pt x="347" y="21"/>
                </a:lnTo>
                <a:lnTo>
                  <a:pt x="348" y="21"/>
                </a:lnTo>
                <a:lnTo>
                  <a:pt x="348" y="22"/>
                </a:lnTo>
                <a:lnTo>
                  <a:pt x="348" y="22"/>
                </a:lnTo>
                <a:lnTo>
                  <a:pt x="348" y="22"/>
                </a:lnTo>
                <a:lnTo>
                  <a:pt x="348" y="22"/>
                </a:lnTo>
                <a:lnTo>
                  <a:pt x="348" y="22"/>
                </a:lnTo>
                <a:lnTo>
                  <a:pt x="348" y="23"/>
                </a:lnTo>
                <a:lnTo>
                  <a:pt x="348" y="23"/>
                </a:lnTo>
                <a:lnTo>
                  <a:pt x="348" y="23"/>
                </a:lnTo>
                <a:lnTo>
                  <a:pt x="348" y="25"/>
                </a:lnTo>
                <a:lnTo>
                  <a:pt x="348" y="25"/>
                </a:lnTo>
                <a:lnTo>
                  <a:pt x="348" y="25"/>
                </a:lnTo>
                <a:lnTo>
                  <a:pt x="348" y="25"/>
                </a:lnTo>
                <a:lnTo>
                  <a:pt x="348" y="26"/>
                </a:lnTo>
                <a:lnTo>
                  <a:pt x="348" y="26"/>
                </a:lnTo>
                <a:lnTo>
                  <a:pt x="347" y="26"/>
                </a:lnTo>
                <a:lnTo>
                  <a:pt x="345" y="26"/>
                </a:lnTo>
                <a:lnTo>
                  <a:pt x="345" y="25"/>
                </a:lnTo>
                <a:lnTo>
                  <a:pt x="343" y="25"/>
                </a:lnTo>
                <a:lnTo>
                  <a:pt x="343" y="25"/>
                </a:lnTo>
                <a:lnTo>
                  <a:pt x="341" y="25"/>
                </a:lnTo>
                <a:lnTo>
                  <a:pt x="341" y="25"/>
                </a:lnTo>
                <a:lnTo>
                  <a:pt x="340" y="26"/>
                </a:lnTo>
                <a:lnTo>
                  <a:pt x="340" y="26"/>
                </a:lnTo>
                <a:lnTo>
                  <a:pt x="339" y="25"/>
                </a:lnTo>
                <a:lnTo>
                  <a:pt x="339" y="25"/>
                </a:lnTo>
                <a:lnTo>
                  <a:pt x="339" y="25"/>
                </a:lnTo>
                <a:lnTo>
                  <a:pt x="337" y="25"/>
                </a:lnTo>
                <a:lnTo>
                  <a:pt x="336" y="26"/>
                </a:lnTo>
                <a:lnTo>
                  <a:pt x="336" y="26"/>
                </a:lnTo>
                <a:lnTo>
                  <a:pt x="336" y="26"/>
                </a:lnTo>
                <a:lnTo>
                  <a:pt x="335" y="26"/>
                </a:lnTo>
                <a:lnTo>
                  <a:pt x="335" y="26"/>
                </a:lnTo>
                <a:lnTo>
                  <a:pt x="335" y="26"/>
                </a:lnTo>
                <a:lnTo>
                  <a:pt x="332" y="26"/>
                </a:lnTo>
                <a:lnTo>
                  <a:pt x="332" y="26"/>
                </a:lnTo>
                <a:lnTo>
                  <a:pt x="332" y="26"/>
                </a:lnTo>
                <a:lnTo>
                  <a:pt x="332" y="26"/>
                </a:lnTo>
                <a:lnTo>
                  <a:pt x="332" y="26"/>
                </a:lnTo>
                <a:lnTo>
                  <a:pt x="330" y="25"/>
                </a:lnTo>
                <a:lnTo>
                  <a:pt x="330" y="25"/>
                </a:lnTo>
                <a:lnTo>
                  <a:pt x="330" y="23"/>
                </a:lnTo>
                <a:lnTo>
                  <a:pt x="330" y="23"/>
                </a:lnTo>
                <a:lnTo>
                  <a:pt x="330" y="23"/>
                </a:lnTo>
                <a:lnTo>
                  <a:pt x="329" y="25"/>
                </a:lnTo>
                <a:lnTo>
                  <a:pt x="329" y="25"/>
                </a:lnTo>
                <a:lnTo>
                  <a:pt x="329" y="25"/>
                </a:lnTo>
                <a:lnTo>
                  <a:pt x="328" y="25"/>
                </a:lnTo>
                <a:lnTo>
                  <a:pt x="328" y="25"/>
                </a:lnTo>
                <a:lnTo>
                  <a:pt x="328" y="25"/>
                </a:lnTo>
                <a:lnTo>
                  <a:pt x="326" y="25"/>
                </a:lnTo>
                <a:lnTo>
                  <a:pt x="325" y="25"/>
                </a:lnTo>
                <a:lnTo>
                  <a:pt x="322" y="23"/>
                </a:lnTo>
                <a:lnTo>
                  <a:pt x="321" y="23"/>
                </a:lnTo>
                <a:lnTo>
                  <a:pt x="320" y="23"/>
                </a:lnTo>
                <a:lnTo>
                  <a:pt x="313" y="25"/>
                </a:lnTo>
                <a:lnTo>
                  <a:pt x="313" y="25"/>
                </a:lnTo>
                <a:lnTo>
                  <a:pt x="311" y="25"/>
                </a:lnTo>
                <a:lnTo>
                  <a:pt x="310" y="25"/>
                </a:lnTo>
                <a:lnTo>
                  <a:pt x="309" y="26"/>
                </a:lnTo>
                <a:lnTo>
                  <a:pt x="307" y="26"/>
                </a:lnTo>
                <a:lnTo>
                  <a:pt x="307" y="26"/>
                </a:lnTo>
                <a:lnTo>
                  <a:pt x="307" y="26"/>
                </a:lnTo>
                <a:lnTo>
                  <a:pt x="307" y="26"/>
                </a:lnTo>
                <a:lnTo>
                  <a:pt x="306" y="25"/>
                </a:lnTo>
                <a:lnTo>
                  <a:pt x="306" y="25"/>
                </a:lnTo>
                <a:lnTo>
                  <a:pt x="306" y="25"/>
                </a:lnTo>
                <a:lnTo>
                  <a:pt x="305" y="25"/>
                </a:lnTo>
                <a:lnTo>
                  <a:pt x="305" y="25"/>
                </a:lnTo>
                <a:lnTo>
                  <a:pt x="303" y="26"/>
                </a:lnTo>
                <a:lnTo>
                  <a:pt x="302" y="26"/>
                </a:lnTo>
                <a:lnTo>
                  <a:pt x="301" y="26"/>
                </a:lnTo>
                <a:lnTo>
                  <a:pt x="299" y="26"/>
                </a:lnTo>
                <a:lnTo>
                  <a:pt x="299" y="26"/>
                </a:lnTo>
                <a:lnTo>
                  <a:pt x="299" y="27"/>
                </a:lnTo>
                <a:lnTo>
                  <a:pt x="299" y="27"/>
                </a:lnTo>
                <a:lnTo>
                  <a:pt x="299" y="27"/>
                </a:lnTo>
                <a:lnTo>
                  <a:pt x="299" y="29"/>
                </a:lnTo>
                <a:lnTo>
                  <a:pt x="299" y="30"/>
                </a:lnTo>
                <a:lnTo>
                  <a:pt x="301" y="33"/>
                </a:lnTo>
                <a:lnTo>
                  <a:pt x="301" y="33"/>
                </a:lnTo>
                <a:lnTo>
                  <a:pt x="301" y="34"/>
                </a:lnTo>
                <a:lnTo>
                  <a:pt x="301" y="34"/>
                </a:lnTo>
                <a:lnTo>
                  <a:pt x="299" y="34"/>
                </a:lnTo>
                <a:lnTo>
                  <a:pt x="299" y="36"/>
                </a:lnTo>
                <a:lnTo>
                  <a:pt x="298" y="37"/>
                </a:lnTo>
                <a:lnTo>
                  <a:pt x="298" y="37"/>
                </a:lnTo>
                <a:lnTo>
                  <a:pt x="298" y="38"/>
                </a:lnTo>
                <a:lnTo>
                  <a:pt x="298" y="38"/>
                </a:lnTo>
                <a:lnTo>
                  <a:pt x="298" y="38"/>
                </a:lnTo>
                <a:lnTo>
                  <a:pt x="296" y="40"/>
                </a:lnTo>
                <a:lnTo>
                  <a:pt x="294" y="41"/>
                </a:lnTo>
                <a:lnTo>
                  <a:pt x="294" y="41"/>
                </a:lnTo>
                <a:lnTo>
                  <a:pt x="294" y="41"/>
                </a:lnTo>
                <a:lnTo>
                  <a:pt x="294" y="41"/>
                </a:lnTo>
                <a:lnTo>
                  <a:pt x="294" y="41"/>
                </a:lnTo>
                <a:lnTo>
                  <a:pt x="294" y="42"/>
                </a:lnTo>
                <a:lnTo>
                  <a:pt x="294" y="42"/>
                </a:lnTo>
                <a:lnTo>
                  <a:pt x="294" y="42"/>
                </a:lnTo>
                <a:lnTo>
                  <a:pt x="294" y="44"/>
                </a:lnTo>
                <a:lnTo>
                  <a:pt x="294" y="44"/>
                </a:lnTo>
                <a:lnTo>
                  <a:pt x="294" y="44"/>
                </a:lnTo>
                <a:lnTo>
                  <a:pt x="291" y="44"/>
                </a:lnTo>
                <a:lnTo>
                  <a:pt x="290" y="44"/>
                </a:lnTo>
                <a:lnTo>
                  <a:pt x="288" y="44"/>
                </a:lnTo>
                <a:lnTo>
                  <a:pt x="288" y="44"/>
                </a:lnTo>
                <a:lnTo>
                  <a:pt x="288" y="45"/>
                </a:lnTo>
                <a:lnTo>
                  <a:pt x="287" y="45"/>
                </a:lnTo>
                <a:lnTo>
                  <a:pt x="287" y="47"/>
                </a:lnTo>
                <a:lnTo>
                  <a:pt x="287" y="48"/>
                </a:lnTo>
                <a:lnTo>
                  <a:pt x="287" y="49"/>
                </a:lnTo>
                <a:lnTo>
                  <a:pt x="287" y="49"/>
                </a:lnTo>
                <a:lnTo>
                  <a:pt x="287" y="49"/>
                </a:lnTo>
                <a:lnTo>
                  <a:pt x="287" y="51"/>
                </a:lnTo>
                <a:lnTo>
                  <a:pt x="287" y="51"/>
                </a:lnTo>
                <a:lnTo>
                  <a:pt x="284" y="51"/>
                </a:lnTo>
                <a:lnTo>
                  <a:pt x="284" y="51"/>
                </a:lnTo>
                <a:lnTo>
                  <a:pt x="283" y="52"/>
                </a:lnTo>
                <a:lnTo>
                  <a:pt x="282" y="55"/>
                </a:lnTo>
                <a:lnTo>
                  <a:pt x="280" y="55"/>
                </a:lnTo>
                <a:lnTo>
                  <a:pt x="280" y="55"/>
                </a:lnTo>
                <a:lnTo>
                  <a:pt x="279" y="55"/>
                </a:lnTo>
                <a:lnTo>
                  <a:pt x="279" y="56"/>
                </a:lnTo>
                <a:lnTo>
                  <a:pt x="277" y="56"/>
                </a:lnTo>
                <a:lnTo>
                  <a:pt x="277" y="56"/>
                </a:lnTo>
                <a:lnTo>
                  <a:pt x="276" y="59"/>
                </a:lnTo>
                <a:lnTo>
                  <a:pt x="275" y="59"/>
                </a:lnTo>
                <a:lnTo>
                  <a:pt x="275" y="59"/>
                </a:lnTo>
                <a:lnTo>
                  <a:pt x="273" y="57"/>
                </a:lnTo>
                <a:lnTo>
                  <a:pt x="273" y="57"/>
                </a:lnTo>
                <a:lnTo>
                  <a:pt x="272" y="57"/>
                </a:lnTo>
                <a:lnTo>
                  <a:pt x="272" y="57"/>
                </a:lnTo>
                <a:lnTo>
                  <a:pt x="271" y="59"/>
                </a:lnTo>
                <a:lnTo>
                  <a:pt x="269" y="59"/>
                </a:lnTo>
                <a:lnTo>
                  <a:pt x="269" y="60"/>
                </a:lnTo>
                <a:lnTo>
                  <a:pt x="269" y="60"/>
                </a:lnTo>
                <a:lnTo>
                  <a:pt x="268" y="60"/>
                </a:lnTo>
                <a:lnTo>
                  <a:pt x="268" y="61"/>
                </a:lnTo>
                <a:lnTo>
                  <a:pt x="268" y="61"/>
                </a:lnTo>
                <a:lnTo>
                  <a:pt x="268" y="64"/>
                </a:lnTo>
                <a:lnTo>
                  <a:pt x="267" y="66"/>
                </a:lnTo>
                <a:lnTo>
                  <a:pt x="267" y="66"/>
                </a:lnTo>
                <a:lnTo>
                  <a:pt x="268" y="66"/>
                </a:lnTo>
                <a:lnTo>
                  <a:pt x="268" y="67"/>
                </a:lnTo>
                <a:lnTo>
                  <a:pt x="268" y="67"/>
                </a:lnTo>
                <a:lnTo>
                  <a:pt x="268" y="68"/>
                </a:lnTo>
                <a:lnTo>
                  <a:pt x="267" y="70"/>
                </a:lnTo>
                <a:lnTo>
                  <a:pt x="267" y="70"/>
                </a:lnTo>
                <a:lnTo>
                  <a:pt x="265" y="71"/>
                </a:lnTo>
                <a:lnTo>
                  <a:pt x="265" y="71"/>
                </a:lnTo>
                <a:lnTo>
                  <a:pt x="265" y="71"/>
                </a:lnTo>
                <a:lnTo>
                  <a:pt x="267" y="72"/>
                </a:lnTo>
                <a:lnTo>
                  <a:pt x="267" y="72"/>
                </a:lnTo>
                <a:lnTo>
                  <a:pt x="267" y="72"/>
                </a:lnTo>
                <a:lnTo>
                  <a:pt x="267" y="72"/>
                </a:lnTo>
                <a:lnTo>
                  <a:pt x="267" y="74"/>
                </a:lnTo>
                <a:lnTo>
                  <a:pt x="268" y="75"/>
                </a:lnTo>
                <a:lnTo>
                  <a:pt x="269" y="75"/>
                </a:lnTo>
                <a:lnTo>
                  <a:pt x="269" y="76"/>
                </a:lnTo>
                <a:lnTo>
                  <a:pt x="269" y="76"/>
                </a:lnTo>
                <a:lnTo>
                  <a:pt x="269" y="78"/>
                </a:lnTo>
                <a:lnTo>
                  <a:pt x="269" y="78"/>
                </a:lnTo>
                <a:lnTo>
                  <a:pt x="265" y="86"/>
                </a:lnTo>
                <a:lnTo>
                  <a:pt x="268" y="86"/>
                </a:lnTo>
                <a:lnTo>
                  <a:pt x="273" y="89"/>
                </a:lnTo>
                <a:lnTo>
                  <a:pt x="273" y="89"/>
                </a:lnTo>
                <a:lnTo>
                  <a:pt x="279" y="90"/>
                </a:lnTo>
                <a:lnTo>
                  <a:pt x="282" y="90"/>
                </a:lnTo>
                <a:lnTo>
                  <a:pt x="282" y="90"/>
                </a:lnTo>
                <a:lnTo>
                  <a:pt x="283" y="90"/>
                </a:lnTo>
                <a:lnTo>
                  <a:pt x="283" y="90"/>
                </a:lnTo>
                <a:lnTo>
                  <a:pt x="283" y="90"/>
                </a:lnTo>
                <a:lnTo>
                  <a:pt x="283" y="90"/>
                </a:lnTo>
                <a:lnTo>
                  <a:pt x="286" y="89"/>
                </a:lnTo>
                <a:lnTo>
                  <a:pt x="286" y="87"/>
                </a:lnTo>
                <a:lnTo>
                  <a:pt x="287" y="87"/>
                </a:lnTo>
                <a:lnTo>
                  <a:pt x="292" y="87"/>
                </a:lnTo>
                <a:lnTo>
                  <a:pt x="292" y="87"/>
                </a:lnTo>
                <a:lnTo>
                  <a:pt x="294" y="87"/>
                </a:lnTo>
                <a:lnTo>
                  <a:pt x="294" y="87"/>
                </a:lnTo>
                <a:lnTo>
                  <a:pt x="294" y="89"/>
                </a:lnTo>
                <a:lnTo>
                  <a:pt x="294" y="89"/>
                </a:lnTo>
                <a:lnTo>
                  <a:pt x="295" y="89"/>
                </a:lnTo>
                <a:lnTo>
                  <a:pt x="295" y="89"/>
                </a:lnTo>
                <a:lnTo>
                  <a:pt x="295" y="89"/>
                </a:lnTo>
                <a:lnTo>
                  <a:pt x="295" y="89"/>
                </a:lnTo>
                <a:lnTo>
                  <a:pt x="296" y="89"/>
                </a:lnTo>
                <a:lnTo>
                  <a:pt x="296" y="89"/>
                </a:lnTo>
                <a:lnTo>
                  <a:pt x="298" y="89"/>
                </a:lnTo>
                <a:lnTo>
                  <a:pt x="298" y="89"/>
                </a:lnTo>
                <a:lnTo>
                  <a:pt x="298" y="89"/>
                </a:lnTo>
                <a:lnTo>
                  <a:pt x="298" y="89"/>
                </a:lnTo>
                <a:lnTo>
                  <a:pt x="299" y="89"/>
                </a:lnTo>
                <a:lnTo>
                  <a:pt x="299" y="87"/>
                </a:lnTo>
                <a:lnTo>
                  <a:pt x="299" y="87"/>
                </a:lnTo>
                <a:lnTo>
                  <a:pt x="299" y="87"/>
                </a:lnTo>
                <a:lnTo>
                  <a:pt x="299" y="87"/>
                </a:lnTo>
                <a:lnTo>
                  <a:pt x="299" y="87"/>
                </a:lnTo>
                <a:lnTo>
                  <a:pt x="299" y="87"/>
                </a:lnTo>
                <a:lnTo>
                  <a:pt x="299" y="87"/>
                </a:lnTo>
                <a:lnTo>
                  <a:pt x="301" y="87"/>
                </a:lnTo>
                <a:lnTo>
                  <a:pt x="301" y="89"/>
                </a:lnTo>
                <a:lnTo>
                  <a:pt x="301" y="89"/>
                </a:lnTo>
                <a:lnTo>
                  <a:pt x="302" y="90"/>
                </a:lnTo>
                <a:lnTo>
                  <a:pt x="302" y="90"/>
                </a:lnTo>
                <a:lnTo>
                  <a:pt x="302" y="90"/>
                </a:lnTo>
                <a:lnTo>
                  <a:pt x="302" y="90"/>
                </a:lnTo>
                <a:lnTo>
                  <a:pt x="303" y="91"/>
                </a:lnTo>
                <a:lnTo>
                  <a:pt x="303" y="91"/>
                </a:lnTo>
                <a:lnTo>
                  <a:pt x="303" y="91"/>
                </a:lnTo>
                <a:lnTo>
                  <a:pt x="303" y="91"/>
                </a:lnTo>
                <a:lnTo>
                  <a:pt x="303" y="91"/>
                </a:lnTo>
                <a:lnTo>
                  <a:pt x="303" y="91"/>
                </a:lnTo>
                <a:lnTo>
                  <a:pt x="302" y="93"/>
                </a:lnTo>
                <a:lnTo>
                  <a:pt x="302" y="93"/>
                </a:lnTo>
                <a:lnTo>
                  <a:pt x="302" y="94"/>
                </a:lnTo>
                <a:lnTo>
                  <a:pt x="302" y="97"/>
                </a:lnTo>
                <a:lnTo>
                  <a:pt x="302" y="98"/>
                </a:lnTo>
                <a:lnTo>
                  <a:pt x="302" y="98"/>
                </a:lnTo>
                <a:lnTo>
                  <a:pt x="302" y="98"/>
                </a:lnTo>
                <a:lnTo>
                  <a:pt x="302" y="100"/>
                </a:lnTo>
                <a:lnTo>
                  <a:pt x="302" y="100"/>
                </a:lnTo>
                <a:lnTo>
                  <a:pt x="309" y="104"/>
                </a:lnTo>
                <a:lnTo>
                  <a:pt x="309" y="104"/>
                </a:lnTo>
                <a:lnTo>
                  <a:pt x="309" y="104"/>
                </a:lnTo>
                <a:lnTo>
                  <a:pt x="310" y="105"/>
                </a:lnTo>
                <a:lnTo>
                  <a:pt x="311" y="106"/>
                </a:lnTo>
                <a:lnTo>
                  <a:pt x="311" y="106"/>
                </a:lnTo>
                <a:lnTo>
                  <a:pt x="311" y="106"/>
                </a:lnTo>
                <a:lnTo>
                  <a:pt x="313" y="106"/>
                </a:lnTo>
                <a:lnTo>
                  <a:pt x="313" y="106"/>
                </a:lnTo>
                <a:lnTo>
                  <a:pt x="313" y="108"/>
                </a:lnTo>
                <a:lnTo>
                  <a:pt x="313" y="108"/>
                </a:lnTo>
                <a:lnTo>
                  <a:pt x="313" y="108"/>
                </a:lnTo>
                <a:lnTo>
                  <a:pt x="313" y="108"/>
                </a:lnTo>
                <a:lnTo>
                  <a:pt x="313" y="108"/>
                </a:lnTo>
                <a:lnTo>
                  <a:pt x="313" y="108"/>
                </a:lnTo>
                <a:lnTo>
                  <a:pt x="314" y="108"/>
                </a:lnTo>
                <a:lnTo>
                  <a:pt x="314" y="108"/>
                </a:lnTo>
                <a:lnTo>
                  <a:pt x="316" y="108"/>
                </a:lnTo>
                <a:lnTo>
                  <a:pt x="316" y="108"/>
                </a:lnTo>
                <a:lnTo>
                  <a:pt x="317" y="108"/>
                </a:lnTo>
                <a:lnTo>
                  <a:pt x="317" y="108"/>
                </a:lnTo>
                <a:lnTo>
                  <a:pt x="317" y="109"/>
                </a:lnTo>
                <a:lnTo>
                  <a:pt x="317" y="109"/>
                </a:lnTo>
                <a:lnTo>
                  <a:pt x="317" y="109"/>
                </a:lnTo>
                <a:lnTo>
                  <a:pt x="317" y="109"/>
                </a:lnTo>
                <a:lnTo>
                  <a:pt x="318" y="109"/>
                </a:lnTo>
                <a:lnTo>
                  <a:pt x="318" y="109"/>
                </a:lnTo>
                <a:lnTo>
                  <a:pt x="318" y="109"/>
                </a:lnTo>
                <a:lnTo>
                  <a:pt x="318" y="110"/>
                </a:lnTo>
                <a:lnTo>
                  <a:pt x="320" y="112"/>
                </a:lnTo>
                <a:lnTo>
                  <a:pt x="320" y="112"/>
                </a:lnTo>
                <a:lnTo>
                  <a:pt x="320" y="112"/>
                </a:lnTo>
                <a:lnTo>
                  <a:pt x="320" y="112"/>
                </a:lnTo>
                <a:lnTo>
                  <a:pt x="321" y="110"/>
                </a:lnTo>
                <a:lnTo>
                  <a:pt x="322" y="110"/>
                </a:lnTo>
                <a:lnTo>
                  <a:pt x="322" y="110"/>
                </a:lnTo>
                <a:lnTo>
                  <a:pt x="322" y="110"/>
                </a:lnTo>
                <a:lnTo>
                  <a:pt x="322" y="110"/>
                </a:lnTo>
                <a:lnTo>
                  <a:pt x="325" y="113"/>
                </a:lnTo>
                <a:lnTo>
                  <a:pt x="325" y="113"/>
                </a:lnTo>
                <a:lnTo>
                  <a:pt x="325" y="113"/>
                </a:lnTo>
                <a:lnTo>
                  <a:pt x="325" y="113"/>
                </a:lnTo>
                <a:lnTo>
                  <a:pt x="329" y="112"/>
                </a:lnTo>
                <a:lnTo>
                  <a:pt x="332" y="112"/>
                </a:lnTo>
                <a:lnTo>
                  <a:pt x="340" y="113"/>
                </a:lnTo>
                <a:lnTo>
                  <a:pt x="340" y="113"/>
                </a:lnTo>
                <a:lnTo>
                  <a:pt x="341" y="113"/>
                </a:lnTo>
                <a:lnTo>
                  <a:pt x="341" y="113"/>
                </a:lnTo>
                <a:lnTo>
                  <a:pt x="341" y="114"/>
                </a:lnTo>
                <a:lnTo>
                  <a:pt x="341" y="114"/>
                </a:lnTo>
                <a:lnTo>
                  <a:pt x="341" y="119"/>
                </a:lnTo>
                <a:lnTo>
                  <a:pt x="341" y="119"/>
                </a:lnTo>
                <a:lnTo>
                  <a:pt x="341" y="119"/>
                </a:lnTo>
                <a:lnTo>
                  <a:pt x="341" y="119"/>
                </a:lnTo>
                <a:lnTo>
                  <a:pt x="341" y="119"/>
                </a:lnTo>
                <a:lnTo>
                  <a:pt x="341" y="119"/>
                </a:lnTo>
                <a:lnTo>
                  <a:pt x="341" y="120"/>
                </a:lnTo>
                <a:lnTo>
                  <a:pt x="341" y="120"/>
                </a:lnTo>
                <a:lnTo>
                  <a:pt x="339" y="120"/>
                </a:lnTo>
                <a:lnTo>
                  <a:pt x="339" y="121"/>
                </a:lnTo>
                <a:lnTo>
                  <a:pt x="339" y="121"/>
                </a:lnTo>
                <a:lnTo>
                  <a:pt x="339" y="121"/>
                </a:lnTo>
                <a:lnTo>
                  <a:pt x="339" y="121"/>
                </a:lnTo>
                <a:lnTo>
                  <a:pt x="337" y="123"/>
                </a:lnTo>
                <a:lnTo>
                  <a:pt x="336" y="125"/>
                </a:lnTo>
                <a:lnTo>
                  <a:pt x="336" y="125"/>
                </a:lnTo>
                <a:lnTo>
                  <a:pt x="336" y="125"/>
                </a:lnTo>
                <a:lnTo>
                  <a:pt x="336" y="125"/>
                </a:lnTo>
                <a:lnTo>
                  <a:pt x="336" y="127"/>
                </a:lnTo>
                <a:lnTo>
                  <a:pt x="336" y="127"/>
                </a:lnTo>
                <a:lnTo>
                  <a:pt x="336" y="128"/>
                </a:lnTo>
                <a:lnTo>
                  <a:pt x="336" y="129"/>
                </a:lnTo>
                <a:lnTo>
                  <a:pt x="336" y="129"/>
                </a:lnTo>
                <a:lnTo>
                  <a:pt x="336" y="129"/>
                </a:lnTo>
                <a:lnTo>
                  <a:pt x="337" y="132"/>
                </a:lnTo>
                <a:lnTo>
                  <a:pt x="337" y="132"/>
                </a:lnTo>
                <a:lnTo>
                  <a:pt x="337" y="134"/>
                </a:lnTo>
                <a:lnTo>
                  <a:pt x="337" y="134"/>
                </a:lnTo>
                <a:lnTo>
                  <a:pt x="337" y="135"/>
                </a:lnTo>
                <a:lnTo>
                  <a:pt x="337" y="135"/>
                </a:lnTo>
                <a:lnTo>
                  <a:pt x="337" y="135"/>
                </a:lnTo>
                <a:lnTo>
                  <a:pt x="339" y="136"/>
                </a:lnTo>
                <a:lnTo>
                  <a:pt x="339" y="136"/>
                </a:lnTo>
                <a:lnTo>
                  <a:pt x="339" y="136"/>
                </a:lnTo>
                <a:lnTo>
                  <a:pt x="339" y="136"/>
                </a:lnTo>
                <a:lnTo>
                  <a:pt x="339" y="136"/>
                </a:lnTo>
                <a:lnTo>
                  <a:pt x="339" y="136"/>
                </a:lnTo>
                <a:lnTo>
                  <a:pt x="339" y="136"/>
                </a:lnTo>
                <a:lnTo>
                  <a:pt x="339" y="136"/>
                </a:lnTo>
                <a:lnTo>
                  <a:pt x="340" y="136"/>
                </a:lnTo>
                <a:lnTo>
                  <a:pt x="341" y="135"/>
                </a:lnTo>
                <a:lnTo>
                  <a:pt x="341" y="135"/>
                </a:lnTo>
                <a:lnTo>
                  <a:pt x="341" y="135"/>
                </a:lnTo>
                <a:lnTo>
                  <a:pt x="341" y="135"/>
                </a:lnTo>
                <a:lnTo>
                  <a:pt x="343" y="135"/>
                </a:lnTo>
                <a:lnTo>
                  <a:pt x="343" y="135"/>
                </a:lnTo>
                <a:lnTo>
                  <a:pt x="343" y="135"/>
                </a:lnTo>
                <a:lnTo>
                  <a:pt x="344" y="135"/>
                </a:lnTo>
                <a:lnTo>
                  <a:pt x="344" y="135"/>
                </a:lnTo>
                <a:lnTo>
                  <a:pt x="345" y="135"/>
                </a:lnTo>
                <a:lnTo>
                  <a:pt x="347" y="136"/>
                </a:lnTo>
                <a:lnTo>
                  <a:pt x="347" y="136"/>
                </a:lnTo>
                <a:lnTo>
                  <a:pt x="347" y="136"/>
                </a:lnTo>
                <a:lnTo>
                  <a:pt x="347" y="136"/>
                </a:lnTo>
                <a:lnTo>
                  <a:pt x="347" y="136"/>
                </a:lnTo>
                <a:lnTo>
                  <a:pt x="348" y="136"/>
                </a:lnTo>
                <a:lnTo>
                  <a:pt x="348" y="136"/>
                </a:lnTo>
                <a:lnTo>
                  <a:pt x="348" y="136"/>
                </a:lnTo>
                <a:lnTo>
                  <a:pt x="350" y="136"/>
                </a:lnTo>
                <a:lnTo>
                  <a:pt x="350" y="138"/>
                </a:lnTo>
                <a:lnTo>
                  <a:pt x="351" y="138"/>
                </a:lnTo>
                <a:lnTo>
                  <a:pt x="352" y="139"/>
                </a:lnTo>
                <a:lnTo>
                  <a:pt x="352" y="139"/>
                </a:lnTo>
                <a:lnTo>
                  <a:pt x="352" y="139"/>
                </a:lnTo>
                <a:lnTo>
                  <a:pt x="352" y="139"/>
                </a:lnTo>
                <a:lnTo>
                  <a:pt x="352" y="139"/>
                </a:lnTo>
                <a:lnTo>
                  <a:pt x="352" y="139"/>
                </a:lnTo>
                <a:lnTo>
                  <a:pt x="354" y="139"/>
                </a:lnTo>
                <a:lnTo>
                  <a:pt x="354" y="139"/>
                </a:lnTo>
                <a:lnTo>
                  <a:pt x="355" y="139"/>
                </a:lnTo>
                <a:lnTo>
                  <a:pt x="355" y="139"/>
                </a:lnTo>
                <a:lnTo>
                  <a:pt x="355" y="139"/>
                </a:lnTo>
                <a:lnTo>
                  <a:pt x="355" y="139"/>
                </a:lnTo>
                <a:lnTo>
                  <a:pt x="355" y="139"/>
                </a:lnTo>
                <a:lnTo>
                  <a:pt x="355" y="139"/>
                </a:lnTo>
                <a:lnTo>
                  <a:pt x="355" y="139"/>
                </a:lnTo>
                <a:lnTo>
                  <a:pt x="355" y="140"/>
                </a:lnTo>
                <a:lnTo>
                  <a:pt x="356" y="140"/>
                </a:lnTo>
                <a:lnTo>
                  <a:pt x="356" y="140"/>
                </a:lnTo>
                <a:lnTo>
                  <a:pt x="358" y="142"/>
                </a:lnTo>
                <a:lnTo>
                  <a:pt x="358" y="142"/>
                </a:lnTo>
                <a:lnTo>
                  <a:pt x="358" y="142"/>
                </a:lnTo>
                <a:lnTo>
                  <a:pt x="359" y="142"/>
                </a:lnTo>
                <a:lnTo>
                  <a:pt x="359" y="142"/>
                </a:lnTo>
                <a:lnTo>
                  <a:pt x="360" y="142"/>
                </a:lnTo>
                <a:lnTo>
                  <a:pt x="360" y="142"/>
                </a:lnTo>
                <a:lnTo>
                  <a:pt x="360" y="142"/>
                </a:lnTo>
                <a:lnTo>
                  <a:pt x="360" y="142"/>
                </a:lnTo>
                <a:lnTo>
                  <a:pt x="360" y="142"/>
                </a:lnTo>
                <a:lnTo>
                  <a:pt x="360" y="142"/>
                </a:lnTo>
                <a:lnTo>
                  <a:pt x="362" y="142"/>
                </a:lnTo>
                <a:lnTo>
                  <a:pt x="362" y="142"/>
                </a:lnTo>
                <a:lnTo>
                  <a:pt x="360" y="142"/>
                </a:lnTo>
                <a:lnTo>
                  <a:pt x="360" y="143"/>
                </a:lnTo>
                <a:lnTo>
                  <a:pt x="362" y="143"/>
                </a:lnTo>
                <a:lnTo>
                  <a:pt x="362" y="143"/>
                </a:lnTo>
                <a:lnTo>
                  <a:pt x="362" y="144"/>
                </a:lnTo>
                <a:lnTo>
                  <a:pt x="362" y="144"/>
                </a:lnTo>
                <a:lnTo>
                  <a:pt x="362" y="144"/>
                </a:lnTo>
                <a:lnTo>
                  <a:pt x="362" y="144"/>
                </a:lnTo>
                <a:lnTo>
                  <a:pt x="362" y="144"/>
                </a:lnTo>
                <a:lnTo>
                  <a:pt x="362" y="144"/>
                </a:lnTo>
                <a:lnTo>
                  <a:pt x="360" y="144"/>
                </a:lnTo>
                <a:lnTo>
                  <a:pt x="360" y="146"/>
                </a:lnTo>
                <a:lnTo>
                  <a:pt x="360" y="146"/>
                </a:lnTo>
                <a:lnTo>
                  <a:pt x="359" y="146"/>
                </a:lnTo>
                <a:lnTo>
                  <a:pt x="359" y="147"/>
                </a:lnTo>
                <a:lnTo>
                  <a:pt x="359" y="148"/>
                </a:lnTo>
                <a:lnTo>
                  <a:pt x="359" y="148"/>
                </a:lnTo>
                <a:lnTo>
                  <a:pt x="359" y="148"/>
                </a:lnTo>
                <a:lnTo>
                  <a:pt x="359" y="148"/>
                </a:lnTo>
                <a:lnTo>
                  <a:pt x="359" y="148"/>
                </a:lnTo>
                <a:lnTo>
                  <a:pt x="359" y="148"/>
                </a:lnTo>
                <a:lnTo>
                  <a:pt x="359" y="148"/>
                </a:lnTo>
                <a:lnTo>
                  <a:pt x="359" y="148"/>
                </a:lnTo>
                <a:lnTo>
                  <a:pt x="359" y="148"/>
                </a:lnTo>
                <a:lnTo>
                  <a:pt x="360" y="150"/>
                </a:lnTo>
                <a:lnTo>
                  <a:pt x="360" y="150"/>
                </a:lnTo>
                <a:lnTo>
                  <a:pt x="360" y="150"/>
                </a:lnTo>
                <a:lnTo>
                  <a:pt x="360" y="150"/>
                </a:lnTo>
                <a:lnTo>
                  <a:pt x="360" y="151"/>
                </a:lnTo>
                <a:lnTo>
                  <a:pt x="360" y="151"/>
                </a:lnTo>
                <a:lnTo>
                  <a:pt x="360" y="151"/>
                </a:lnTo>
                <a:lnTo>
                  <a:pt x="360" y="151"/>
                </a:lnTo>
                <a:lnTo>
                  <a:pt x="360" y="151"/>
                </a:lnTo>
                <a:lnTo>
                  <a:pt x="360" y="151"/>
                </a:lnTo>
                <a:lnTo>
                  <a:pt x="360" y="151"/>
                </a:lnTo>
                <a:lnTo>
                  <a:pt x="359" y="153"/>
                </a:lnTo>
                <a:lnTo>
                  <a:pt x="359" y="153"/>
                </a:lnTo>
                <a:lnTo>
                  <a:pt x="359" y="154"/>
                </a:lnTo>
                <a:lnTo>
                  <a:pt x="359" y="154"/>
                </a:lnTo>
                <a:lnTo>
                  <a:pt x="359" y="155"/>
                </a:lnTo>
                <a:lnTo>
                  <a:pt x="359" y="155"/>
                </a:lnTo>
                <a:lnTo>
                  <a:pt x="358" y="157"/>
                </a:lnTo>
                <a:lnTo>
                  <a:pt x="358" y="157"/>
                </a:lnTo>
                <a:lnTo>
                  <a:pt x="358" y="157"/>
                </a:lnTo>
                <a:lnTo>
                  <a:pt x="358" y="157"/>
                </a:lnTo>
                <a:lnTo>
                  <a:pt x="358" y="157"/>
                </a:lnTo>
                <a:lnTo>
                  <a:pt x="358" y="158"/>
                </a:lnTo>
                <a:lnTo>
                  <a:pt x="356" y="158"/>
                </a:lnTo>
                <a:lnTo>
                  <a:pt x="356" y="158"/>
                </a:lnTo>
                <a:lnTo>
                  <a:pt x="356" y="158"/>
                </a:lnTo>
                <a:lnTo>
                  <a:pt x="356" y="159"/>
                </a:lnTo>
                <a:lnTo>
                  <a:pt x="356" y="159"/>
                </a:lnTo>
                <a:lnTo>
                  <a:pt x="356" y="161"/>
                </a:lnTo>
                <a:lnTo>
                  <a:pt x="356" y="161"/>
                </a:lnTo>
                <a:lnTo>
                  <a:pt x="356" y="161"/>
                </a:lnTo>
                <a:lnTo>
                  <a:pt x="355" y="161"/>
                </a:lnTo>
                <a:lnTo>
                  <a:pt x="355" y="161"/>
                </a:lnTo>
                <a:lnTo>
                  <a:pt x="355" y="161"/>
                </a:lnTo>
                <a:lnTo>
                  <a:pt x="354" y="161"/>
                </a:lnTo>
                <a:lnTo>
                  <a:pt x="354" y="161"/>
                </a:lnTo>
                <a:lnTo>
                  <a:pt x="354" y="161"/>
                </a:lnTo>
                <a:lnTo>
                  <a:pt x="352" y="162"/>
                </a:lnTo>
                <a:lnTo>
                  <a:pt x="352" y="162"/>
                </a:lnTo>
                <a:lnTo>
                  <a:pt x="352" y="162"/>
                </a:lnTo>
                <a:lnTo>
                  <a:pt x="352" y="162"/>
                </a:lnTo>
                <a:lnTo>
                  <a:pt x="352" y="162"/>
                </a:lnTo>
                <a:lnTo>
                  <a:pt x="351" y="162"/>
                </a:lnTo>
                <a:lnTo>
                  <a:pt x="351" y="162"/>
                </a:lnTo>
                <a:lnTo>
                  <a:pt x="351" y="163"/>
                </a:lnTo>
                <a:lnTo>
                  <a:pt x="351" y="163"/>
                </a:lnTo>
                <a:lnTo>
                  <a:pt x="351" y="163"/>
                </a:lnTo>
                <a:lnTo>
                  <a:pt x="351" y="163"/>
                </a:lnTo>
                <a:lnTo>
                  <a:pt x="351" y="163"/>
                </a:lnTo>
                <a:lnTo>
                  <a:pt x="350" y="163"/>
                </a:lnTo>
                <a:lnTo>
                  <a:pt x="350" y="165"/>
                </a:lnTo>
                <a:lnTo>
                  <a:pt x="350" y="165"/>
                </a:lnTo>
                <a:lnTo>
                  <a:pt x="348" y="165"/>
                </a:lnTo>
                <a:lnTo>
                  <a:pt x="348" y="165"/>
                </a:lnTo>
                <a:lnTo>
                  <a:pt x="348" y="165"/>
                </a:lnTo>
                <a:lnTo>
                  <a:pt x="348" y="165"/>
                </a:lnTo>
                <a:lnTo>
                  <a:pt x="348" y="165"/>
                </a:lnTo>
                <a:lnTo>
                  <a:pt x="345" y="165"/>
                </a:lnTo>
                <a:lnTo>
                  <a:pt x="344" y="165"/>
                </a:lnTo>
                <a:lnTo>
                  <a:pt x="344" y="166"/>
                </a:lnTo>
                <a:lnTo>
                  <a:pt x="343" y="166"/>
                </a:lnTo>
                <a:lnTo>
                  <a:pt x="343" y="166"/>
                </a:lnTo>
                <a:lnTo>
                  <a:pt x="343" y="166"/>
                </a:lnTo>
                <a:lnTo>
                  <a:pt x="341" y="166"/>
                </a:lnTo>
                <a:lnTo>
                  <a:pt x="341" y="166"/>
                </a:lnTo>
                <a:lnTo>
                  <a:pt x="340" y="166"/>
                </a:lnTo>
                <a:lnTo>
                  <a:pt x="340" y="168"/>
                </a:lnTo>
                <a:lnTo>
                  <a:pt x="340" y="168"/>
                </a:lnTo>
                <a:lnTo>
                  <a:pt x="339" y="168"/>
                </a:lnTo>
                <a:lnTo>
                  <a:pt x="337" y="169"/>
                </a:lnTo>
                <a:lnTo>
                  <a:pt x="337" y="169"/>
                </a:lnTo>
                <a:lnTo>
                  <a:pt x="337" y="169"/>
                </a:lnTo>
                <a:lnTo>
                  <a:pt x="336" y="170"/>
                </a:lnTo>
                <a:lnTo>
                  <a:pt x="336" y="172"/>
                </a:lnTo>
                <a:lnTo>
                  <a:pt x="336" y="173"/>
                </a:lnTo>
                <a:lnTo>
                  <a:pt x="333" y="176"/>
                </a:lnTo>
                <a:lnTo>
                  <a:pt x="333" y="176"/>
                </a:lnTo>
                <a:lnTo>
                  <a:pt x="333" y="176"/>
                </a:lnTo>
                <a:lnTo>
                  <a:pt x="333" y="176"/>
                </a:lnTo>
                <a:lnTo>
                  <a:pt x="333" y="177"/>
                </a:lnTo>
                <a:lnTo>
                  <a:pt x="335" y="177"/>
                </a:lnTo>
                <a:lnTo>
                  <a:pt x="335" y="177"/>
                </a:lnTo>
                <a:lnTo>
                  <a:pt x="335" y="178"/>
                </a:lnTo>
                <a:lnTo>
                  <a:pt x="335" y="178"/>
                </a:lnTo>
                <a:lnTo>
                  <a:pt x="333" y="181"/>
                </a:lnTo>
                <a:lnTo>
                  <a:pt x="332" y="182"/>
                </a:lnTo>
                <a:lnTo>
                  <a:pt x="332" y="182"/>
                </a:lnTo>
                <a:lnTo>
                  <a:pt x="332" y="184"/>
                </a:lnTo>
                <a:lnTo>
                  <a:pt x="332" y="184"/>
                </a:lnTo>
                <a:lnTo>
                  <a:pt x="332" y="184"/>
                </a:lnTo>
                <a:lnTo>
                  <a:pt x="332" y="182"/>
                </a:lnTo>
                <a:lnTo>
                  <a:pt x="332" y="182"/>
                </a:lnTo>
                <a:lnTo>
                  <a:pt x="332" y="182"/>
                </a:lnTo>
                <a:lnTo>
                  <a:pt x="330" y="182"/>
                </a:lnTo>
                <a:lnTo>
                  <a:pt x="330" y="182"/>
                </a:lnTo>
                <a:lnTo>
                  <a:pt x="330" y="182"/>
                </a:lnTo>
                <a:lnTo>
                  <a:pt x="330" y="181"/>
                </a:lnTo>
                <a:lnTo>
                  <a:pt x="330" y="181"/>
                </a:lnTo>
                <a:lnTo>
                  <a:pt x="330" y="181"/>
                </a:lnTo>
                <a:lnTo>
                  <a:pt x="330" y="181"/>
                </a:lnTo>
                <a:lnTo>
                  <a:pt x="329" y="181"/>
                </a:lnTo>
                <a:lnTo>
                  <a:pt x="329" y="181"/>
                </a:lnTo>
                <a:lnTo>
                  <a:pt x="329" y="181"/>
                </a:lnTo>
                <a:lnTo>
                  <a:pt x="328" y="182"/>
                </a:lnTo>
                <a:lnTo>
                  <a:pt x="326" y="182"/>
                </a:lnTo>
                <a:lnTo>
                  <a:pt x="326" y="182"/>
                </a:lnTo>
                <a:lnTo>
                  <a:pt x="326" y="182"/>
                </a:lnTo>
                <a:lnTo>
                  <a:pt x="326" y="182"/>
                </a:lnTo>
                <a:lnTo>
                  <a:pt x="326" y="182"/>
                </a:lnTo>
                <a:lnTo>
                  <a:pt x="325" y="182"/>
                </a:lnTo>
                <a:lnTo>
                  <a:pt x="325" y="182"/>
                </a:lnTo>
                <a:lnTo>
                  <a:pt x="325" y="182"/>
                </a:lnTo>
                <a:lnTo>
                  <a:pt x="324" y="182"/>
                </a:lnTo>
                <a:lnTo>
                  <a:pt x="322" y="182"/>
                </a:lnTo>
                <a:lnTo>
                  <a:pt x="322" y="182"/>
                </a:lnTo>
                <a:lnTo>
                  <a:pt x="322" y="182"/>
                </a:lnTo>
                <a:lnTo>
                  <a:pt x="321" y="184"/>
                </a:lnTo>
                <a:lnTo>
                  <a:pt x="321" y="184"/>
                </a:lnTo>
                <a:lnTo>
                  <a:pt x="321" y="184"/>
                </a:lnTo>
                <a:lnTo>
                  <a:pt x="321" y="184"/>
                </a:lnTo>
                <a:lnTo>
                  <a:pt x="321" y="185"/>
                </a:lnTo>
                <a:lnTo>
                  <a:pt x="321" y="185"/>
                </a:lnTo>
                <a:lnTo>
                  <a:pt x="321" y="185"/>
                </a:lnTo>
                <a:lnTo>
                  <a:pt x="321" y="187"/>
                </a:lnTo>
                <a:lnTo>
                  <a:pt x="321" y="187"/>
                </a:lnTo>
                <a:lnTo>
                  <a:pt x="321" y="187"/>
                </a:lnTo>
                <a:lnTo>
                  <a:pt x="321" y="188"/>
                </a:lnTo>
                <a:lnTo>
                  <a:pt x="321" y="189"/>
                </a:lnTo>
                <a:lnTo>
                  <a:pt x="321" y="189"/>
                </a:lnTo>
                <a:lnTo>
                  <a:pt x="321" y="189"/>
                </a:lnTo>
                <a:lnTo>
                  <a:pt x="321" y="189"/>
                </a:lnTo>
                <a:lnTo>
                  <a:pt x="320" y="191"/>
                </a:lnTo>
                <a:lnTo>
                  <a:pt x="320" y="191"/>
                </a:lnTo>
                <a:lnTo>
                  <a:pt x="320" y="191"/>
                </a:lnTo>
                <a:lnTo>
                  <a:pt x="320" y="192"/>
                </a:lnTo>
                <a:lnTo>
                  <a:pt x="320" y="193"/>
                </a:lnTo>
                <a:lnTo>
                  <a:pt x="320" y="193"/>
                </a:lnTo>
                <a:lnTo>
                  <a:pt x="320" y="195"/>
                </a:lnTo>
                <a:lnTo>
                  <a:pt x="320" y="195"/>
                </a:lnTo>
                <a:lnTo>
                  <a:pt x="318" y="196"/>
                </a:lnTo>
                <a:lnTo>
                  <a:pt x="318" y="197"/>
                </a:lnTo>
                <a:lnTo>
                  <a:pt x="318" y="197"/>
                </a:lnTo>
                <a:lnTo>
                  <a:pt x="320" y="199"/>
                </a:lnTo>
                <a:lnTo>
                  <a:pt x="321" y="202"/>
                </a:lnTo>
                <a:lnTo>
                  <a:pt x="322" y="203"/>
                </a:lnTo>
                <a:lnTo>
                  <a:pt x="322" y="204"/>
                </a:lnTo>
                <a:lnTo>
                  <a:pt x="324" y="204"/>
                </a:lnTo>
                <a:lnTo>
                  <a:pt x="324" y="204"/>
                </a:lnTo>
                <a:lnTo>
                  <a:pt x="324" y="210"/>
                </a:lnTo>
                <a:lnTo>
                  <a:pt x="324" y="211"/>
                </a:lnTo>
                <a:lnTo>
                  <a:pt x="324" y="214"/>
                </a:lnTo>
                <a:lnTo>
                  <a:pt x="324" y="214"/>
                </a:lnTo>
                <a:lnTo>
                  <a:pt x="324" y="214"/>
                </a:lnTo>
                <a:lnTo>
                  <a:pt x="324" y="215"/>
                </a:lnTo>
                <a:lnTo>
                  <a:pt x="324" y="215"/>
                </a:lnTo>
                <a:lnTo>
                  <a:pt x="325" y="219"/>
                </a:lnTo>
                <a:lnTo>
                  <a:pt x="325" y="223"/>
                </a:lnTo>
                <a:lnTo>
                  <a:pt x="325" y="223"/>
                </a:lnTo>
                <a:lnTo>
                  <a:pt x="325" y="223"/>
                </a:lnTo>
                <a:lnTo>
                  <a:pt x="326" y="223"/>
                </a:lnTo>
                <a:lnTo>
                  <a:pt x="329" y="230"/>
                </a:lnTo>
                <a:lnTo>
                  <a:pt x="329" y="233"/>
                </a:lnTo>
                <a:lnTo>
                  <a:pt x="329" y="238"/>
                </a:lnTo>
                <a:lnTo>
                  <a:pt x="329" y="240"/>
                </a:lnTo>
                <a:lnTo>
                  <a:pt x="330" y="241"/>
                </a:lnTo>
                <a:lnTo>
                  <a:pt x="330" y="242"/>
                </a:lnTo>
                <a:lnTo>
                  <a:pt x="330" y="244"/>
                </a:lnTo>
                <a:lnTo>
                  <a:pt x="330" y="245"/>
                </a:lnTo>
                <a:lnTo>
                  <a:pt x="330" y="246"/>
                </a:lnTo>
                <a:lnTo>
                  <a:pt x="329" y="248"/>
                </a:lnTo>
                <a:lnTo>
                  <a:pt x="329" y="249"/>
                </a:lnTo>
                <a:lnTo>
                  <a:pt x="329" y="249"/>
                </a:lnTo>
                <a:lnTo>
                  <a:pt x="329" y="250"/>
                </a:lnTo>
                <a:lnTo>
                  <a:pt x="329" y="250"/>
                </a:lnTo>
                <a:lnTo>
                  <a:pt x="330" y="252"/>
                </a:lnTo>
                <a:lnTo>
                  <a:pt x="332" y="253"/>
                </a:lnTo>
                <a:lnTo>
                  <a:pt x="332" y="255"/>
                </a:lnTo>
                <a:lnTo>
                  <a:pt x="333" y="256"/>
                </a:lnTo>
                <a:lnTo>
                  <a:pt x="333" y="257"/>
                </a:lnTo>
                <a:lnTo>
                  <a:pt x="333" y="257"/>
                </a:lnTo>
                <a:lnTo>
                  <a:pt x="332" y="257"/>
                </a:lnTo>
                <a:lnTo>
                  <a:pt x="332" y="257"/>
                </a:lnTo>
                <a:lnTo>
                  <a:pt x="332" y="259"/>
                </a:lnTo>
                <a:lnTo>
                  <a:pt x="332" y="259"/>
                </a:lnTo>
                <a:lnTo>
                  <a:pt x="332" y="261"/>
                </a:lnTo>
                <a:lnTo>
                  <a:pt x="332" y="261"/>
                </a:lnTo>
                <a:lnTo>
                  <a:pt x="332" y="263"/>
                </a:lnTo>
                <a:lnTo>
                  <a:pt x="332" y="263"/>
                </a:lnTo>
                <a:lnTo>
                  <a:pt x="332" y="264"/>
                </a:lnTo>
                <a:lnTo>
                  <a:pt x="332" y="264"/>
                </a:lnTo>
                <a:lnTo>
                  <a:pt x="332" y="264"/>
                </a:lnTo>
                <a:lnTo>
                  <a:pt x="332" y="264"/>
                </a:lnTo>
                <a:lnTo>
                  <a:pt x="330" y="264"/>
                </a:lnTo>
                <a:lnTo>
                  <a:pt x="330" y="265"/>
                </a:lnTo>
                <a:lnTo>
                  <a:pt x="329" y="267"/>
                </a:lnTo>
                <a:lnTo>
                  <a:pt x="329" y="268"/>
                </a:lnTo>
                <a:lnTo>
                  <a:pt x="329" y="270"/>
                </a:lnTo>
                <a:lnTo>
                  <a:pt x="330" y="270"/>
                </a:lnTo>
                <a:lnTo>
                  <a:pt x="330" y="271"/>
                </a:lnTo>
                <a:lnTo>
                  <a:pt x="330" y="272"/>
                </a:lnTo>
                <a:lnTo>
                  <a:pt x="330" y="272"/>
                </a:lnTo>
                <a:lnTo>
                  <a:pt x="330" y="274"/>
                </a:lnTo>
                <a:lnTo>
                  <a:pt x="330" y="274"/>
                </a:lnTo>
                <a:lnTo>
                  <a:pt x="330" y="275"/>
                </a:lnTo>
                <a:lnTo>
                  <a:pt x="330" y="276"/>
                </a:lnTo>
                <a:lnTo>
                  <a:pt x="330" y="278"/>
                </a:lnTo>
                <a:lnTo>
                  <a:pt x="330" y="278"/>
                </a:lnTo>
                <a:lnTo>
                  <a:pt x="330" y="278"/>
                </a:lnTo>
                <a:lnTo>
                  <a:pt x="330" y="278"/>
                </a:lnTo>
                <a:lnTo>
                  <a:pt x="329" y="279"/>
                </a:lnTo>
                <a:lnTo>
                  <a:pt x="329" y="279"/>
                </a:lnTo>
                <a:lnTo>
                  <a:pt x="329" y="279"/>
                </a:lnTo>
                <a:lnTo>
                  <a:pt x="329" y="279"/>
                </a:lnTo>
                <a:lnTo>
                  <a:pt x="329" y="279"/>
                </a:lnTo>
                <a:lnTo>
                  <a:pt x="330" y="279"/>
                </a:lnTo>
                <a:lnTo>
                  <a:pt x="330" y="279"/>
                </a:lnTo>
                <a:lnTo>
                  <a:pt x="330" y="279"/>
                </a:lnTo>
                <a:lnTo>
                  <a:pt x="330" y="279"/>
                </a:lnTo>
                <a:lnTo>
                  <a:pt x="330" y="279"/>
                </a:lnTo>
                <a:lnTo>
                  <a:pt x="332" y="279"/>
                </a:lnTo>
                <a:lnTo>
                  <a:pt x="332" y="279"/>
                </a:lnTo>
                <a:lnTo>
                  <a:pt x="332" y="279"/>
                </a:lnTo>
                <a:lnTo>
                  <a:pt x="332" y="279"/>
                </a:lnTo>
                <a:lnTo>
                  <a:pt x="332" y="280"/>
                </a:lnTo>
                <a:lnTo>
                  <a:pt x="332" y="280"/>
                </a:lnTo>
                <a:lnTo>
                  <a:pt x="333" y="282"/>
                </a:lnTo>
                <a:lnTo>
                  <a:pt x="333" y="282"/>
                </a:lnTo>
                <a:lnTo>
                  <a:pt x="335" y="282"/>
                </a:lnTo>
                <a:lnTo>
                  <a:pt x="335" y="283"/>
                </a:lnTo>
                <a:lnTo>
                  <a:pt x="333" y="284"/>
                </a:lnTo>
                <a:lnTo>
                  <a:pt x="333" y="284"/>
                </a:lnTo>
                <a:lnTo>
                  <a:pt x="333" y="286"/>
                </a:lnTo>
                <a:lnTo>
                  <a:pt x="332" y="287"/>
                </a:lnTo>
                <a:lnTo>
                  <a:pt x="333" y="289"/>
                </a:lnTo>
                <a:lnTo>
                  <a:pt x="335" y="290"/>
                </a:lnTo>
                <a:lnTo>
                  <a:pt x="339" y="291"/>
                </a:lnTo>
                <a:lnTo>
                  <a:pt x="340" y="293"/>
                </a:lnTo>
                <a:lnTo>
                  <a:pt x="341" y="293"/>
                </a:lnTo>
                <a:lnTo>
                  <a:pt x="341" y="294"/>
                </a:lnTo>
                <a:lnTo>
                  <a:pt x="343" y="294"/>
                </a:lnTo>
                <a:lnTo>
                  <a:pt x="344" y="294"/>
                </a:lnTo>
                <a:lnTo>
                  <a:pt x="344" y="294"/>
                </a:lnTo>
                <a:lnTo>
                  <a:pt x="344" y="294"/>
                </a:lnTo>
                <a:lnTo>
                  <a:pt x="345" y="294"/>
                </a:lnTo>
                <a:lnTo>
                  <a:pt x="345" y="294"/>
                </a:lnTo>
                <a:lnTo>
                  <a:pt x="347" y="294"/>
                </a:lnTo>
                <a:lnTo>
                  <a:pt x="347" y="294"/>
                </a:lnTo>
                <a:lnTo>
                  <a:pt x="350" y="293"/>
                </a:lnTo>
                <a:lnTo>
                  <a:pt x="351" y="294"/>
                </a:lnTo>
                <a:lnTo>
                  <a:pt x="351" y="294"/>
                </a:lnTo>
                <a:lnTo>
                  <a:pt x="352" y="294"/>
                </a:lnTo>
                <a:lnTo>
                  <a:pt x="352" y="295"/>
                </a:lnTo>
                <a:lnTo>
                  <a:pt x="352" y="295"/>
                </a:lnTo>
                <a:lnTo>
                  <a:pt x="352" y="295"/>
                </a:lnTo>
                <a:lnTo>
                  <a:pt x="354" y="297"/>
                </a:lnTo>
                <a:lnTo>
                  <a:pt x="354" y="298"/>
                </a:lnTo>
                <a:lnTo>
                  <a:pt x="374" y="308"/>
                </a:lnTo>
                <a:lnTo>
                  <a:pt x="374" y="308"/>
                </a:lnTo>
                <a:lnTo>
                  <a:pt x="374" y="309"/>
                </a:lnTo>
                <a:lnTo>
                  <a:pt x="374" y="310"/>
                </a:lnTo>
                <a:lnTo>
                  <a:pt x="375" y="312"/>
                </a:lnTo>
                <a:lnTo>
                  <a:pt x="375" y="312"/>
                </a:lnTo>
                <a:lnTo>
                  <a:pt x="377" y="312"/>
                </a:lnTo>
                <a:lnTo>
                  <a:pt x="378" y="312"/>
                </a:lnTo>
                <a:lnTo>
                  <a:pt x="381" y="310"/>
                </a:lnTo>
                <a:lnTo>
                  <a:pt x="381" y="310"/>
                </a:lnTo>
                <a:lnTo>
                  <a:pt x="382" y="312"/>
                </a:lnTo>
                <a:lnTo>
                  <a:pt x="385" y="313"/>
                </a:lnTo>
                <a:lnTo>
                  <a:pt x="385" y="313"/>
                </a:lnTo>
                <a:lnTo>
                  <a:pt x="386" y="313"/>
                </a:lnTo>
                <a:lnTo>
                  <a:pt x="389" y="313"/>
                </a:lnTo>
                <a:lnTo>
                  <a:pt x="390" y="313"/>
                </a:lnTo>
                <a:lnTo>
                  <a:pt x="392" y="312"/>
                </a:lnTo>
                <a:lnTo>
                  <a:pt x="393" y="310"/>
                </a:lnTo>
                <a:lnTo>
                  <a:pt x="393" y="309"/>
                </a:lnTo>
                <a:lnTo>
                  <a:pt x="393" y="308"/>
                </a:lnTo>
                <a:lnTo>
                  <a:pt x="394" y="308"/>
                </a:lnTo>
                <a:lnTo>
                  <a:pt x="396" y="306"/>
                </a:lnTo>
                <a:lnTo>
                  <a:pt x="396" y="308"/>
                </a:lnTo>
                <a:lnTo>
                  <a:pt x="397" y="309"/>
                </a:lnTo>
                <a:lnTo>
                  <a:pt x="396" y="310"/>
                </a:lnTo>
                <a:lnTo>
                  <a:pt x="394" y="313"/>
                </a:lnTo>
                <a:lnTo>
                  <a:pt x="394" y="314"/>
                </a:lnTo>
                <a:lnTo>
                  <a:pt x="394" y="317"/>
                </a:lnTo>
                <a:lnTo>
                  <a:pt x="394" y="320"/>
                </a:lnTo>
                <a:lnTo>
                  <a:pt x="394" y="321"/>
                </a:lnTo>
                <a:lnTo>
                  <a:pt x="394" y="323"/>
                </a:lnTo>
                <a:lnTo>
                  <a:pt x="393" y="324"/>
                </a:lnTo>
                <a:lnTo>
                  <a:pt x="393" y="324"/>
                </a:lnTo>
                <a:lnTo>
                  <a:pt x="393" y="327"/>
                </a:lnTo>
                <a:lnTo>
                  <a:pt x="394" y="331"/>
                </a:lnTo>
                <a:lnTo>
                  <a:pt x="397" y="333"/>
                </a:lnTo>
                <a:lnTo>
                  <a:pt x="398" y="333"/>
                </a:lnTo>
                <a:lnTo>
                  <a:pt x="401" y="333"/>
                </a:lnTo>
                <a:lnTo>
                  <a:pt x="404" y="332"/>
                </a:lnTo>
                <a:lnTo>
                  <a:pt x="405" y="332"/>
                </a:lnTo>
                <a:lnTo>
                  <a:pt x="409" y="335"/>
                </a:lnTo>
                <a:lnTo>
                  <a:pt x="412" y="335"/>
                </a:lnTo>
                <a:lnTo>
                  <a:pt x="415" y="333"/>
                </a:lnTo>
                <a:lnTo>
                  <a:pt x="418" y="333"/>
                </a:lnTo>
                <a:lnTo>
                  <a:pt x="419" y="333"/>
                </a:lnTo>
                <a:lnTo>
                  <a:pt x="422" y="336"/>
                </a:lnTo>
                <a:lnTo>
                  <a:pt x="423" y="338"/>
                </a:lnTo>
                <a:lnTo>
                  <a:pt x="427" y="338"/>
                </a:lnTo>
                <a:lnTo>
                  <a:pt x="430" y="339"/>
                </a:lnTo>
                <a:lnTo>
                  <a:pt x="434" y="343"/>
                </a:lnTo>
                <a:lnTo>
                  <a:pt x="435" y="344"/>
                </a:lnTo>
                <a:lnTo>
                  <a:pt x="437" y="346"/>
                </a:lnTo>
                <a:lnTo>
                  <a:pt x="437" y="347"/>
                </a:lnTo>
                <a:lnTo>
                  <a:pt x="437" y="348"/>
                </a:lnTo>
                <a:lnTo>
                  <a:pt x="435" y="351"/>
                </a:lnTo>
                <a:lnTo>
                  <a:pt x="434" y="352"/>
                </a:lnTo>
                <a:lnTo>
                  <a:pt x="434" y="355"/>
                </a:lnTo>
                <a:lnTo>
                  <a:pt x="434" y="355"/>
                </a:lnTo>
                <a:lnTo>
                  <a:pt x="431" y="355"/>
                </a:lnTo>
                <a:lnTo>
                  <a:pt x="431" y="355"/>
                </a:lnTo>
                <a:lnTo>
                  <a:pt x="430" y="357"/>
                </a:lnTo>
                <a:lnTo>
                  <a:pt x="427" y="357"/>
                </a:lnTo>
                <a:lnTo>
                  <a:pt x="426" y="358"/>
                </a:lnTo>
                <a:lnTo>
                  <a:pt x="426" y="359"/>
                </a:lnTo>
                <a:lnTo>
                  <a:pt x="426" y="359"/>
                </a:lnTo>
                <a:lnTo>
                  <a:pt x="424" y="359"/>
                </a:lnTo>
                <a:lnTo>
                  <a:pt x="423" y="359"/>
                </a:lnTo>
                <a:lnTo>
                  <a:pt x="423" y="361"/>
                </a:lnTo>
                <a:lnTo>
                  <a:pt x="422" y="361"/>
                </a:lnTo>
                <a:lnTo>
                  <a:pt x="422" y="361"/>
                </a:lnTo>
                <a:lnTo>
                  <a:pt x="418" y="359"/>
                </a:lnTo>
                <a:lnTo>
                  <a:pt x="416" y="359"/>
                </a:lnTo>
                <a:lnTo>
                  <a:pt x="418" y="362"/>
                </a:lnTo>
                <a:lnTo>
                  <a:pt x="416" y="362"/>
                </a:lnTo>
                <a:lnTo>
                  <a:pt x="415" y="361"/>
                </a:lnTo>
                <a:lnTo>
                  <a:pt x="415" y="362"/>
                </a:lnTo>
                <a:lnTo>
                  <a:pt x="413" y="362"/>
                </a:lnTo>
                <a:lnTo>
                  <a:pt x="413" y="363"/>
                </a:lnTo>
                <a:lnTo>
                  <a:pt x="413" y="363"/>
                </a:lnTo>
                <a:lnTo>
                  <a:pt x="412" y="363"/>
                </a:lnTo>
                <a:lnTo>
                  <a:pt x="411" y="363"/>
                </a:lnTo>
                <a:lnTo>
                  <a:pt x="409" y="363"/>
                </a:lnTo>
                <a:lnTo>
                  <a:pt x="409" y="363"/>
                </a:lnTo>
                <a:lnTo>
                  <a:pt x="408" y="365"/>
                </a:lnTo>
                <a:lnTo>
                  <a:pt x="405" y="365"/>
                </a:lnTo>
                <a:lnTo>
                  <a:pt x="404" y="366"/>
                </a:lnTo>
                <a:lnTo>
                  <a:pt x="404" y="369"/>
                </a:lnTo>
                <a:lnTo>
                  <a:pt x="403" y="370"/>
                </a:lnTo>
                <a:lnTo>
                  <a:pt x="401" y="370"/>
                </a:lnTo>
                <a:lnTo>
                  <a:pt x="397" y="370"/>
                </a:lnTo>
                <a:lnTo>
                  <a:pt x="396" y="373"/>
                </a:lnTo>
                <a:lnTo>
                  <a:pt x="394" y="373"/>
                </a:lnTo>
                <a:lnTo>
                  <a:pt x="393" y="374"/>
                </a:lnTo>
                <a:lnTo>
                  <a:pt x="389" y="377"/>
                </a:lnTo>
                <a:lnTo>
                  <a:pt x="388" y="378"/>
                </a:lnTo>
                <a:lnTo>
                  <a:pt x="388" y="380"/>
                </a:lnTo>
                <a:lnTo>
                  <a:pt x="388" y="381"/>
                </a:lnTo>
                <a:lnTo>
                  <a:pt x="388" y="382"/>
                </a:lnTo>
                <a:lnTo>
                  <a:pt x="388" y="382"/>
                </a:lnTo>
                <a:lnTo>
                  <a:pt x="388" y="382"/>
                </a:lnTo>
                <a:lnTo>
                  <a:pt x="386" y="382"/>
                </a:lnTo>
                <a:lnTo>
                  <a:pt x="386" y="384"/>
                </a:lnTo>
                <a:lnTo>
                  <a:pt x="386" y="384"/>
                </a:lnTo>
                <a:lnTo>
                  <a:pt x="386" y="385"/>
                </a:lnTo>
                <a:lnTo>
                  <a:pt x="386" y="385"/>
                </a:lnTo>
                <a:lnTo>
                  <a:pt x="385" y="385"/>
                </a:lnTo>
                <a:lnTo>
                  <a:pt x="385" y="385"/>
                </a:lnTo>
                <a:lnTo>
                  <a:pt x="385" y="386"/>
                </a:lnTo>
                <a:lnTo>
                  <a:pt x="385" y="386"/>
                </a:lnTo>
                <a:lnTo>
                  <a:pt x="385" y="386"/>
                </a:lnTo>
                <a:lnTo>
                  <a:pt x="389" y="393"/>
                </a:lnTo>
                <a:lnTo>
                  <a:pt x="390" y="400"/>
                </a:lnTo>
                <a:lnTo>
                  <a:pt x="392" y="403"/>
                </a:lnTo>
                <a:lnTo>
                  <a:pt x="392" y="404"/>
                </a:lnTo>
                <a:lnTo>
                  <a:pt x="392" y="405"/>
                </a:lnTo>
                <a:lnTo>
                  <a:pt x="392" y="407"/>
                </a:lnTo>
                <a:lnTo>
                  <a:pt x="390" y="408"/>
                </a:lnTo>
                <a:lnTo>
                  <a:pt x="389" y="408"/>
                </a:lnTo>
                <a:lnTo>
                  <a:pt x="388" y="415"/>
                </a:lnTo>
                <a:lnTo>
                  <a:pt x="386" y="416"/>
                </a:lnTo>
                <a:lnTo>
                  <a:pt x="386" y="419"/>
                </a:lnTo>
                <a:lnTo>
                  <a:pt x="386" y="422"/>
                </a:lnTo>
                <a:lnTo>
                  <a:pt x="385" y="423"/>
                </a:lnTo>
                <a:lnTo>
                  <a:pt x="386" y="425"/>
                </a:lnTo>
                <a:lnTo>
                  <a:pt x="386" y="426"/>
                </a:lnTo>
                <a:lnTo>
                  <a:pt x="386" y="427"/>
                </a:lnTo>
                <a:lnTo>
                  <a:pt x="388" y="427"/>
                </a:lnTo>
                <a:lnTo>
                  <a:pt x="389" y="429"/>
                </a:lnTo>
                <a:lnTo>
                  <a:pt x="392" y="427"/>
                </a:lnTo>
                <a:lnTo>
                  <a:pt x="392" y="427"/>
                </a:lnTo>
                <a:lnTo>
                  <a:pt x="393" y="429"/>
                </a:lnTo>
                <a:lnTo>
                  <a:pt x="394" y="430"/>
                </a:lnTo>
                <a:lnTo>
                  <a:pt x="394" y="430"/>
                </a:lnTo>
                <a:lnTo>
                  <a:pt x="392" y="431"/>
                </a:lnTo>
                <a:lnTo>
                  <a:pt x="390" y="433"/>
                </a:lnTo>
                <a:lnTo>
                  <a:pt x="389" y="434"/>
                </a:lnTo>
                <a:lnTo>
                  <a:pt x="389" y="435"/>
                </a:lnTo>
                <a:lnTo>
                  <a:pt x="388" y="437"/>
                </a:lnTo>
                <a:lnTo>
                  <a:pt x="388" y="438"/>
                </a:lnTo>
                <a:lnTo>
                  <a:pt x="386" y="438"/>
                </a:lnTo>
                <a:lnTo>
                  <a:pt x="385" y="439"/>
                </a:lnTo>
                <a:lnTo>
                  <a:pt x="384" y="439"/>
                </a:lnTo>
                <a:lnTo>
                  <a:pt x="382" y="439"/>
                </a:lnTo>
                <a:lnTo>
                  <a:pt x="382" y="439"/>
                </a:lnTo>
                <a:lnTo>
                  <a:pt x="381" y="441"/>
                </a:lnTo>
                <a:lnTo>
                  <a:pt x="379" y="442"/>
                </a:lnTo>
                <a:lnTo>
                  <a:pt x="379" y="442"/>
                </a:lnTo>
                <a:lnTo>
                  <a:pt x="379" y="444"/>
                </a:lnTo>
                <a:lnTo>
                  <a:pt x="378" y="444"/>
                </a:lnTo>
                <a:lnTo>
                  <a:pt x="377" y="442"/>
                </a:lnTo>
                <a:lnTo>
                  <a:pt x="375" y="442"/>
                </a:lnTo>
                <a:lnTo>
                  <a:pt x="375" y="442"/>
                </a:lnTo>
                <a:lnTo>
                  <a:pt x="374" y="444"/>
                </a:lnTo>
                <a:lnTo>
                  <a:pt x="374" y="444"/>
                </a:lnTo>
                <a:lnTo>
                  <a:pt x="373" y="445"/>
                </a:lnTo>
                <a:lnTo>
                  <a:pt x="374" y="446"/>
                </a:lnTo>
                <a:lnTo>
                  <a:pt x="373" y="448"/>
                </a:lnTo>
                <a:lnTo>
                  <a:pt x="371" y="448"/>
                </a:lnTo>
                <a:lnTo>
                  <a:pt x="371" y="449"/>
                </a:lnTo>
                <a:lnTo>
                  <a:pt x="370" y="449"/>
                </a:lnTo>
                <a:lnTo>
                  <a:pt x="371" y="450"/>
                </a:lnTo>
                <a:lnTo>
                  <a:pt x="371" y="450"/>
                </a:lnTo>
                <a:lnTo>
                  <a:pt x="370" y="452"/>
                </a:lnTo>
                <a:lnTo>
                  <a:pt x="370" y="452"/>
                </a:lnTo>
                <a:lnTo>
                  <a:pt x="369" y="452"/>
                </a:lnTo>
                <a:lnTo>
                  <a:pt x="369" y="454"/>
                </a:lnTo>
                <a:lnTo>
                  <a:pt x="367" y="454"/>
                </a:lnTo>
                <a:lnTo>
                  <a:pt x="366" y="456"/>
                </a:lnTo>
                <a:lnTo>
                  <a:pt x="366" y="457"/>
                </a:lnTo>
                <a:lnTo>
                  <a:pt x="366" y="457"/>
                </a:lnTo>
                <a:lnTo>
                  <a:pt x="364" y="459"/>
                </a:lnTo>
                <a:lnTo>
                  <a:pt x="364" y="459"/>
                </a:lnTo>
                <a:lnTo>
                  <a:pt x="364" y="460"/>
                </a:lnTo>
                <a:lnTo>
                  <a:pt x="363" y="460"/>
                </a:lnTo>
                <a:lnTo>
                  <a:pt x="362" y="460"/>
                </a:lnTo>
                <a:lnTo>
                  <a:pt x="360" y="461"/>
                </a:lnTo>
                <a:lnTo>
                  <a:pt x="360" y="461"/>
                </a:lnTo>
                <a:lnTo>
                  <a:pt x="359" y="463"/>
                </a:lnTo>
                <a:lnTo>
                  <a:pt x="358" y="464"/>
                </a:lnTo>
                <a:lnTo>
                  <a:pt x="359" y="465"/>
                </a:lnTo>
                <a:lnTo>
                  <a:pt x="359" y="467"/>
                </a:lnTo>
                <a:lnTo>
                  <a:pt x="359" y="468"/>
                </a:lnTo>
                <a:lnTo>
                  <a:pt x="358" y="469"/>
                </a:lnTo>
                <a:lnTo>
                  <a:pt x="355" y="469"/>
                </a:lnTo>
                <a:lnTo>
                  <a:pt x="355" y="471"/>
                </a:lnTo>
                <a:lnTo>
                  <a:pt x="354" y="471"/>
                </a:lnTo>
                <a:lnTo>
                  <a:pt x="351" y="476"/>
                </a:lnTo>
                <a:lnTo>
                  <a:pt x="351" y="476"/>
                </a:lnTo>
                <a:lnTo>
                  <a:pt x="350" y="476"/>
                </a:lnTo>
                <a:lnTo>
                  <a:pt x="348" y="476"/>
                </a:lnTo>
                <a:lnTo>
                  <a:pt x="350" y="476"/>
                </a:lnTo>
                <a:lnTo>
                  <a:pt x="350" y="478"/>
                </a:lnTo>
                <a:lnTo>
                  <a:pt x="350" y="478"/>
                </a:lnTo>
                <a:lnTo>
                  <a:pt x="348" y="478"/>
                </a:lnTo>
                <a:lnTo>
                  <a:pt x="347" y="479"/>
                </a:lnTo>
                <a:lnTo>
                  <a:pt x="345" y="479"/>
                </a:lnTo>
                <a:lnTo>
                  <a:pt x="345" y="480"/>
                </a:lnTo>
                <a:lnTo>
                  <a:pt x="345" y="480"/>
                </a:lnTo>
                <a:lnTo>
                  <a:pt x="348" y="483"/>
                </a:lnTo>
                <a:lnTo>
                  <a:pt x="350" y="484"/>
                </a:lnTo>
                <a:lnTo>
                  <a:pt x="351" y="487"/>
                </a:lnTo>
                <a:lnTo>
                  <a:pt x="352" y="490"/>
                </a:lnTo>
                <a:lnTo>
                  <a:pt x="352" y="491"/>
                </a:lnTo>
                <a:lnTo>
                  <a:pt x="351" y="493"/>
                </a:lnTo>
                <a:lnTo>
                  <a:pt x="341" y="501"/>
                </a:lnTo>
                <a:lnTo>
                  <a:pt x="339" y="502"/>
                </a:lnTo>
                <a:lnTo>
                  <a:pt x="328" y="505"/>
                </a:lnTo>
                <a:lnTo>
                  <a:pt x="318" y="509"/>
                </a:lnTo>
                <a:lnTo>
                  <a:pt x="317" y="510"/>
                </a:lnTo>
                <a:lnTo>
                  <a:pt x="314" y="518"/>
                </a:lnTo>
                <a:lnTo>
                  <a:pt x="311" y="527"/>
                </a:lnTo>
                <a:lnTo>
                  <a:pt x="309" y="537"/>
                </a:lnTo>
                <a:lnTo>
                  <a:pt x="305" y="543"/>
                </a:lnTo>
                <a:lnTo>
                  <a:pt x="302" y="548"/>
                </a:lnTo>
                <a:lnTo>
                  <a:pt x="298" y="558"/>
                </a:lnTo>
                <a:lnTo>
                  <a:pt x="294" y="563"/>
                </a:lnTo>
                <a:lnTo>
                  <a:pt x="292" y="566"/>
                </a:lnTo>
                <a:lnTo>
                  <a:pt x="290" y="570"/>
                </a:lnTo>
                <a:lnTo>
                  <a:pt x="290" y="571"/>
                </a:lnTo>
                <a:lnTo>
                  <a:pt x="288" y="571"/>
                </a:lnTo>
                <a:lnTo>
                  <a:pt x="280" y="575"/>
                </a:lnTo>
                <a:lnTo>
                  <a:pt x="273" y="580"/>
                </a:lnTo>
                <a:lnTo>
                  <a:pt x="265" y="584"/>
                </a:lnTo>
                <a:lnTo>
                  <a:pt x="257" y="588"/>
                </a:lnTo>
                <a:lnTo>
                  <a:pt x="256" y="589"/>
                </a:lnTo>
                <a:lnTo>
                  <a:pt x="250" y="595"/>
                </a:lnTo>
                <a:lnTo>
                  <a:pt x="249" y="597"/>
                </a:lnTo>
                <a:lnTo>
                  <a:pt x="246" y="611"/>
                </a:lnTo>
                <a:lnTo>
                  <a:pt x="245" y="615"/>
                </a:lnTo>
                <a:lnTo>
                  <a:pt x="243" y="618"/>
                </a:lnTo>
                <a:lnTo>
                  <a:pt x="241" y="620"/>
                </a:lnTo>
                <a:lnTo>
                  <a:pt x="233" y="626"/>
                </a:lnTo>
                <a:lnTo>
                  <a:pt x="228" y="633"/>
                </a:lnTo>
                <a:lnTo>
                  <a:pt x="227" y="634"/>
                </a:lnTo>
                <a:lnTo>
                  <a:pt x="227" y="635"/>
                </a:lnTo>
                <a:lnTo>
                  <a:pt x="227" y="643"/>
                </a:lnTo>
                <a:lnTo>
                  <a:pt x="226" y="643"/>
                </a:lnTo>
                <a:lnTo>
                  <a:pt x="226" y="645"/>
                </a:lnTo>
                <a:lnTo>
                  <a:pt x="216" y="648"/>
                </a:lnTo>
                <a:lnTo>
                  <a:pt x="207" y="650"/>
                </a:lnTo>
                <a:lnTo>
                  <a:pt x="203" y="650"/>
                </a:lnTo>
                <a:lnTo>
                  <a:pt x="197" y="650"/>
                </a:lnTo>
                <a:lnTo>
                  <a:pt x="192" y="650"/>
                </a:lnTo>
                <a:lnTo>
                  <a:pt x="186" y="652"/>
                </a:lnTo>
                <a:lnTo>
                  <a:pt x="182" y="653"/>
                </a:lnTo>
                <a:lnTo>
                  <a:pt x="175" y="657"/>
                </a:lnTo>
                <a:lnTo>
                  <a:pt x="169" y="660"/>
                </a:lnTo>
                <a:lnTo>
                  <a:pt x="163" y="661"/>
                </a:lnTo>
                <a:lnTo>
                  <a:pt x="159" y="661"/>
                </a:lnTo>
                <a:lnTo>
                  <a:pt x="155" y="658"/>
                </a:lnTo>
                <a:lnTo>
                  <a:pt x="154" y="656"/>
                </a:lnTo>
                <a:lnTo>
                  <a:pt x="151" y="652"/>
                </a:lnTo>
                <a:lnTo>
                  <a:pt x="151" y="650"/>
                </a:lnTo>
                <a:lnTo>
                  <a:pt x="151" y="648"/>
                </a:lnTo>
                <a:lnTo>
                  <a:pt x="151" y="646"/>
                </a:lnTo>
                <a:lnTo>
                  <a:pt x="150" y="645"/>
                </a:lnTo>
                <a:lnTo>
                  <a:pt x="148" y="643"/>
                </a:lnTo>
                <a:lnTo>
                  <a:pt x="147" y="641"/>
                </a:lnTo>
                <a:lnTo>
                  <a:pt x="145" y="641"/>
                </a:lnTo>
                <a:lnTo>
                  <a:pt x="143" y="639"/>
                </a:lnTo>
                <a:lnTo>
                  <a:pt x="141" y="639"/>
                </a:lnTo>
                <a:lnTo>
                  <a:pt x="140" y="638"/>
                </a:lnTo>
                <a:lnTo>
                  <a:pt x="139" y="639"/>
                </a:lnTo>
                <a:lnTo>
                  <a:pt x="137" y="639"/>
                </a:lnTo>
                <a:lnTo>
                  <a:pt x="135" y="641"/>
                </a:lnTo>
                <a:lnTo>
                  <a:pt x="133" y="641"/>
                </a:lnTo>
                <a:lnTo>
                  <a:pt x="132" y="641"/>
                </a:lnTo>
                <a:lnTo>
                  <a:pt x="129" y="645"/>
                </a:lnTo>
                <a:lnTo>
                  <a:pt x="125" y="648"/>
                </a:lnTo>
                <a:lnTo>
                  <a:pt x="124" y="649"/>
                </a:lnTo>
                <a:lnTo>
                  <a:pt x="118" y="654"/>
                </a:lnTo>
                <a:lnTo>
                  <a:pt x="118" y="656"/>
                </a:lnTo>
                <a:lnTo>
                  <a:pt x="114" y="668"/>
                </a:lnTo>
                <a:lnTo>
                  <a:pt x="113" y="671"/>
                </a:lnTo>
                <a:lnTo>
                  <a:pt x="107" y="675"/>
                </a:lnTo>
                <a:lnTo>
                  <a:pt x="103" y="682"/>
                </a:lnTo>
                <a:lnTo>
                  <a:pt x="97" y="688"/>
                </a:lnTo>
                <a:lnTo>
                  <a:pt x="92" y="691"/>
                </a:lnTo>
                <a:lnTo>
                  <a:pt x="87" y="696"/>
                </a:lnTo>
                <a:lnTo>
                  <a:pt x="84" y="701"/>
                </a:lnTo>
                <a:lnTo>
                  <a:pt x="83" y="705"/>
                </a:lnTo>
                <a:lnTo>
                  <a:pt x="82" y="713"/>
                </a:lnTo>
                <a:lnTo>
                  <a:pt x="80" y="721"/>
                </a:lnTo>
                <a:lnTo>
                  <a:pt x="80" y="724"/>
                </a:lnTo>
                <a:lnTo>
                  <a:pt x="83" y="726"/>
                </a:lnTo>
                <a:lnTo>
                  <a:pt x="92" y="730"/>
                </a:lnTo>
                <a:lnTo>
                  <a:pt x="95" y="732"/>
                </a:lnTo>
                <a:lnTo>
                  <a:pt x="99" y="736"/>
                </a:lnTo>
                <a:lnTo>
                  <a:pt x="102" y="736"/>
                </a:lnTo>
                <a:lnTo>
                  <a:pt x="116" y="736"/>
                </a:lnTo>
                <a:lnTo>
                  <a:pt x="118" y="736"/>
                </a:lnTo>
                <a:lnTo>
                  <a:pt x="121" y="737"/>
                </a:lnTo>
                <a:lnTo>
                  <a:pt x="122" y="740"/>
                </a:lnTo>
                <a:lnTo>
                  <a:pt x="122" y="743"/>
                </a:lnTo>
                <a:lnTo>
                  <a:pt x="122" y="748"/>
                </a:lnTo>
                <a:lnTo>
                  <a:pt x="122" y="751"/>
                </a:lnTo>
                <a:lnTo>
                  <a:pt x="122" y="751"/>
                </a:lnTo>
                <a:lnTo>
                  <a:pt x="121" y="754"/>
                </a:lnTo>
                <a:lnTo>
                  <a:pt x="121" y="754"/>
                </a:lnTo>
                <a:lnTo>
                  <a:pt x="121" y="755"/>
                </a:lnTo>
                <a:lnTo>
                  <a:pt x="122" y="758"/>
                </a:lnTo>
                <a:lnTo>
                  <a:pt x="121" y="760"/>
                </a:lnTo>
                <a:lnTo>
                  <a:pt x="121" y="763"/>
                </a:lnTo>
                <a:lnTo>
                  <a:pt x="117" y="769"/>
                </a:lnTo>
                <a:lnTo>
                  <a:pt x="117" y="770"/>
                </a:lnTo>
                <a:lnTo>
                  <a:pt x="117" y="771"/>
                </a:lnTo>
                <a:lnTo>
                  <a:pt x="117" y="775"/>
                </a:lnTo>
                <a:lnTo>
                  <a:pt x="117" y="777"/>
                </a:lnTo>
                <a:lnTo>
                  <a:pt x="118" y="779"/>
                </a:lnTo>
                <a:lnTo>
                  <a:pt x="120" y="784"/>
                </a:lnTo>
                <a:lnTo>
                  <a:pt x="122" y="786"/>
                </a:lnTo>
                <a:lnTo>
                  <a:pt x="125" y="788"/>
                </a:lnTo>
                <a:lnTo>
                  <a:pt x="125" y="789"/>
                </a:lnTo>
                <a:lnTo>
                  <a:pt x="126" y="793"/>
                </a:lnTo>
                <a:lnTo>
                  <a:pt x="128" y="794"/>
                </a:lnTo>
                <a:lnTo>
                  <a:pt x="129" y="796"/>
                </a:lnTo>
                <a:lnTo>
                  <a:pt x="131" y="796"/>
                </a:lnTo>
                <a:lnTo>
                  <a:pt x="135" y="797"/>
                </a:lnTo>
                <a:lnTo>
                  <a:pt x="141" y="797"/>
                </a:lnTo>
                <a:lnTo>
                  <a:pt x="144" y="796"/>
                </a:lnTo>
                <a:lnTo>
                  <a:pt x="147" y="794"/>
                </a:lnTo>
                <a:lnTo>
                  <a:pt x="148" y="794"/>
                </a:lnTo>
                <a:lnTo>
                  <a:pt x="151" y="794"/>
                </a:lnTo>
                <a:lnTo>
                  <a:pt x="152" y="797"/>
                </a:lnTo>
                <a:lnTo>
                  <a:pt x="152" y="800"/>
                </a:lnTo>
                <a:lnTo>
                  <a:pt x="152" y="805"/>
                </a:lnTo>
                <a:lnTo>
                  <a:pt x="152" y="812"/>
                </a:lnTo>
                <a:lnTo>
                  <a:pt x="152" y="815"/>
                </a:lnTo>
                <a:lnTo>
                  <a:pt x="154" y="816"/>
                </a:lnTo>
                <a:lnTo>
                  <a:pt x="155" y="819"/>
                </a:lnTo>
                <a:lnTo>
                  <a:pt x="156" y="820"/>
                </a:lnTo>
                <a:lnTo>
                  <a:pt x="156" y="822"/>
                </a:lnTo>
                <a:lnTo>
                  <a:pt x="158" y="823"/>
                </a:lnTo>
                <a:lnTo>
                  <a:pt x="159" y="826"/>
                </a:lnTo>
                <a:lnTo>
                  <a:pt x="163" y="828"/>
                </a:lnTo>
                <a:lnTo>
                  <a:pt x="165" y="830"/>
                </a:lnTo>
                <a:lnTo>
                  <a:pt x="165" y="832"/>
                </a:lnTo>
                <a:lnTo>
                  <a:pt x="167" y="841"/>
                </a:lnTo>
                <a:lnTo>
                  <a:pt x="169" y="845"/>
                </a:lnTo>
                <a:lnTo>
                  <a:pt x="170" y="847"/>
                </a:lnTo>
                <a:lnTo>
                  <a:pt x="174" y="854"/>
                </a:lnTo>
                <a:lnTo>
                  <a:pt x="175" y="860"/>
                </a:lnTo>
                <a:lnTo>
                  <a:pt x="177" y="861"/>
                </a:lnTo>
                <a:lnTo>
                  <a:pt x="177" y="862"/>
                </a:lnTo>
                <a:lnTo>
                  <a:pt x="175" y="862"/>
                </a:lnTo>
                <a:lnTo>
                  <a:pt x="171" y="865"/>
                </a:lnTo>
                <a:lnTo>
                  <a:pt x="171" y="866"/>
                </a:lnTo>
                <a:lnTo>
                  <a:pt x="170" y="868"/>
                </a:lnTo>
                <a:lnTo>
                  <a:pt x="171" y="871"/>
                </a:lnTo>
                <a:lnTo>
                  <a:pt x="171" y="871"/>
                </a:lnTo>
                <a:lnTo>
                  <a:pt x="173" y="872"/>
                </a:lnTo>
                <a:lnTo>
                  <a:pt x="173" y="872"/>
                </a:lnTo>
                <a:lnTo>
                  <a:pt x="173" y="872"/>
                </a:lnTo>
                <a:lnTo>
                  <a:pt x="171" y="873"/>
                </a:lnTo>
                <a:lnTo>
                  <a:pt x="171" y="875"/>
                </a:lnTo>
                <a:lnTo>
                  <a:pt x="171" y="875"/>
                </a:lnTo>
                <a:lnTo>
                  <a:pt x="171" y="875"/>
                </a:lnTo>
                <a:lnTo>
                  <a:pt x="171" y="876"/>
                </a:lnTo>
                <a:lnTo>
                  <a:pt x="171" y="876"/>
                </a:lnTo>
                <a:lnTo>
                  <a:pt x="173" y="877"/>
                </a:lnTo>
                <a:lnTo>
                  <a:pt x="175" y="877"/>
                </a:lnTo>
                <a:lnTo>
                  <a:pt x="178" y="877"/>
                </a:lnTo>
                <a:lnTo>
                  <a:pt x="178" y="880"/>
                </a:lnTo>
                <a:lnTo>
                  <a:pt x="178" y="880"/>
                </a:lnTo>
                <a:lnTo>
                  <a:pt x="174" y="881"/>
                </a:lnTo>
                <a:lnTo>
                  <a:pt x="174" y="881"/>
                </a:lnTo>
                <a:lnTo>
                  <a:pt x="174" y="883"/>
                </a:lnTo>
                <a:lnTo>
                  <a:pt x="173" y="883"/>
                </a:lnTo>
                <a:lnTo>
                  <a:pt x="171" y="883"/>
                </a:lnTo>
                <a:lnTo>
                  <a:pt x="170" y="883"/>
                </a:lnTo>
                <a:lnTo>
                  <a:pt x="170" y="883"/>
                </a:lnTo>
                <a:lnTo>
                  <a:pt x="169" y="883"/>
                </a:lnTo>
                <a:lnTo>
                  <a:pt x="165" y="886"/>
                </a:lnTo>
                <a:lnTo>
                  <a:pt x="163" y="887"/>
                </a:lnTo>
                <a:lnTo>
                  <a:pt x="163" y="888"/>
                </a:lnTo>
                <a:lnTo>
                  <a:pt x="165" y="888"/>
                </a:lnTo>
                <a:lnTo>
                  <a:pt x="165" y="890"/>
                </a:lnTo>
                <a:lnTo>
                  <a:pt x="163" y="890"/>
                </a:lnTo>
                <a:lnTo>
                  <a:pt x="162" y="890"/>
                </a:lnTo>
                <a:lnTo>
                  <a:pt x="159" y="891"/>
                </a:lnTo>
                <a:lnTo>
                  <a:pt x="158" y="891"/>
                </a:lnTo>
                <a:lnTo>
                  <a:pt x="151" y="891"/>
                </a:lnTo>
                <a:lnTo>
                  <a:pt x="148" y="890"/>
                </a:lnTo>
                <a:lnTo>
                  <a:pt x="147" y="888"/>
                </a:lnTo>
                <a:lnTo>
                  <a:pt x="147" y="888"/>
                </a:lnTo>
                <a:lnTo>
                  <a:pt x="147" y="886"/>
                </a:lnTo>
                <a:lnTo>
                  <a:pt x="145" y="883"/>
                </a:lnTo>
                <a:lnTo>
                  <a:pt x="145" y="883"/>
                </a:lnTo>
                <a:lnTo>
                  <a:pt x="145" y="881"/>
                </a:lnTo>
                <a:lnTo>
                  <a:pt x="147" y="881"/>
                </a:lnTo>
                <a:lnTo>
                  <a:pt x="147" y="880"/>
                </a:lnTo>
                <a:lnTo>
                  <a:pt x="147" y="879"/>
                </a:lnTo>
                <a:lnTo>
                  <a:pt x="144" y="879"/>
                </a:lnTo>
                <a:lnTo>
                  <a:pt x="137" y="880"/>
                </a:lnTo>
                <a:lnTo>
                  <a:pt x="135" y="883"/>
                </a:lnTo>
                <a:lnTo>
                  <a:pt x="135" y="883"/>
                </a:lnTo>
                <a:lnTo>
                  <a:pt x="131" y="883"/>
                </a:lnTo>
                <a:lnTo>
                  <a:pt x="129" y="883"/>
                </a:lnTo>
                <a:lnTo>
                  <a:pt x="128" y="886"/>
                </a:lnTo>
                <a:lnTo>
                  <a:pt x="126" y="886"/>
                </a:lnTo>
                <a:lnTo>
                  <a:pt x="125" y="886"/>
                </a:lnTo>
                <a:lnTo>
                  <a:pt x="121" y="887"/>
                </a:lnTo>
                <a:lnTo>
                  <a:pt x="120" y="887"/>
                </a:lnTo>
                <a:lnTo>
                  <a:pt x="118" y="887"/>
                </a:lnTo>
                <a:lnTo>
                  <a:pt x="118" y="888"/>
                </a:lnTo>
                <a:lnTo>
                  <a:pt x="117" y="892"/>
                </a:lnTo>
                <a:lnTo>
                  <a:pt x="116" y="894"/>
                </a:lnTo>
                <a:lnTo>
                  <a:pt x="114" y="895"/>
                </a:lnTo>
                <a:lnTo>
                  <a:pt x="111" y="896"/>
                </a:lnTo>
                <a:lnTo>
                  <a:pt x="99" y="896"/>
                </a:lnTo>
                <a:lnTo>
                  <a:pt x="95" y="895"/>
                </a:lnTo>
                <a:lnTo>
                  <a:pt x="92" y="894"/>
                </a:lnTo>
                <a:lnTo>
                  <a:pt x="88" y="890"/>
                </a:lnTo>
                <a:lnTo>
                  <a:pt x="86" y="888"/>
                </a:lnTo>
                <a:lnTo>
                  <a:pt x="69" y="888"/>
                </a:lnTo>
                <a:lnTo>
                  <a:pt x="65" y="890"/>
                </a:lnTo>
                <a:lnTo>
                  <a:pt x="63" y="890"/>
                </a:lnTo>
                <a:lnTo>
                  <a:pt x="61" y="890"/>
                </a:lnTo>
                <a:lnTo>
                  <a:pt x="57" y="888"/>
                </a:lnTo>
                <a:lnTo>
                  <a:pt x="56" y="888"/>
                </a:lnTo>
                <a:lnTo>
                  <a:pt x="54" y="888"/>
                </a:lnTo>
                <a:lnTo>
                  <a:pt x="53" y="890"/>
                </a:lnTo>
                <a:lnTo>
                  <a:pt x="50" y="890"/>
                </a:lnTo>
                <a:lnTo>
                  <a:pt x="50" y="890"/>
                </a:lnTo>
                <a:lnTo>
                  <a:pt x="49" y="888"/>
                </a:lnTo>
                <a:lnTo>
                  <a:pt x="48" y="887"/>
                </a:lnTo>
                <a:lnTo>
                  <a:pt x="48" y="887"/>
                </a:lnTo>
                <a:lnTo>
                  <a:pt x="46" y="886"/>
                </a:lnTo>
                <a:lnTo>
                  <a:pt x="46" y="886"/>
                </a:lnTo>
                <a:lnTo>
                  <a:pt x="45" y="886"/>
                </a:lnTo>
                <a:lnTo>
                  <a:pt x="45" y="886"/>
                </a:lnTo>
                <a:lnTo>
                  <a:pt x="45" y="887"/>
                </a:lnTo>
                <a:lnTo>
                  <a:pt x="45" y="887"/>
                </a:lnTo>
                <a:lnTo>
                  <a:pt x="43" y="891"/>
                </a:lnTo>
                <a:lnTo>
                  <a:pt x="42" y="891"/>
                </a:lnTo>
                <a:lnTo>
                  <a:pt x="41" y="890"/>
                </a:lnTo>
                <a:lnTo>
                  <a:pt x="41" y="887"/>
                </a:lnTo>
                <a:lnTo>
                  <a:pt x="39" y="886"/>
                </a:lnTo>
                <a:lnTo>
                  <a:pt x="37" y="886"/>
                </a:lnTo>
                <a:lnTo>
                  <a:pt x="35" y="888"/>
                </a:lnTo>
                <a:lnTo>
                  <a:pt x="35" y="892"/>
                </a:lnTo>
                <a:lnTo>
                  <a:pt x="35" y="899"/>
                </a:lnTo>
                <a:lnTo>
                  <a:pt x="35" y="909"/>
                </a:lnTo>
                <a:lnTo>
                  <a:pt x="31" y="909"/>
                </a:lnTo>
                <a:lnTo>
                  <a:pt x="24" y="909"/>
                </a:lnTo>
                <a:lnTo>
                  <a:pt x="18" y="909"/>
                </a:lnTo>
                <a:lnTo>
                  <a:pt x="15" y="909"/>
                </a:lnTo>
                <a:lnTo>
                  <a:pt x="14" y="910"/>
                </a:lnTo>
                <a:lnTo>
                  <a:pt x="14" y="910"/>
                </a:lnTo>
                <a:lnTo>
                  <a:pt x="12" y="910"/>
                </a:lnTo>
                <a:lnTo>
                  <a:pt x="12" y="909"/>
                </a:lnTo>
                <a:lnTo>
                  <a:pt x="12" y="909"/>
                </a:lnTo>
                <a:lnTo>
                  <a:pt x="12" y="909"/>
                </a:lnTo>
                <a:lnTo>
                  <a:pt x="11" y="909"/>
                </a:lnTo>
                <a:lnTo>
                  <a:pt x="12" y="910"/>
                </a:lnTo>
                <a:lnTo>
                  <a:pt x="12" y="910"/>
                </a:lnTo>
                <a:lnTo>
                  <a:pt x="11" y="911"/>
                </a:lnTo>
                <a:lnTo>
                  <a:pt x="11" y="911"/>
                </a:lnTo>
                <a:lnTo>
                  <a:pt x="9" y="913"/>
                </a:lnTo>
                <a:lnTo>
                  <a:pt x="9" y="911"/>
                </a:lnTo>
                <a:lnTo>
                  <a:pt x="8" y="911"/>
                </a:lnTo>
                <a:lnTo>
                  <a:pt x="8" y="911"/>
                </a:lnTo>
                <a:lnTo>
                  <a:pt x="8" y="910"/>
                </a:lnTo>
                <a:lnTo>
                  <a:pt x="8" y="911"/>
                </a:lnTo>
                <a:lnTo>
                  <a:pt x="7" y="911"/>
                </a:lnTo>
                <a:lnTo>
                  <a:pt x="7" y="911"/>
                </a:lnTo>
                <a:lnTo>
                  <a:pt x="7" y="913"/>
                </a:lnTo>
                <a:lnTo>
                  <a:pt x="7" y="913"/>
                </a:lnTo>
                <a:lnTo>
                  <a:pt x="7" y="913"/>
                </a:lnTo>
                <a:lnTo>
                  <a:pt x="7" y="913"/>
                </a:lnTo>
                <a:lnTo>
                  <a:pt x="7" y="913"/>
                </a:lnTo>
                <a:lnTo>
                  <a:pt x="7" y="914"/>
                </a:lnTo>
                <a:lnTo>
                  <a:pt x="7" y="914"/>
                </a:lnTo>
                <a:lnTo>
                  <a:pt x="7" y="914"/>
                </a:lnTo>
                <a:lnTo>
                  <a:pt x="7" y="914"/>
                </a:lnTo>
                <a:lnTo>
                  <a:pt x="5" y="914"/>
                </a:lnTo>
                <a:lnTo>
                  <a:pt x="4" y="914"/>
                </a:lnTo>
                <a:lnTo>
                  <a:pt x="4" y="914"/>
                </a:lnTo>
                <a:lnTo>
                  <a:pt x="3" y="917"/>
                </a:lnTo>
                <a:lnTo>
                  <a:pt x="3" y="917"/>
                </a:lnTo>
                <a:lnTo>
                  <a:pt x="3" y="917"/>
                </a:lnTo>
                <a:lnTo>
                  <a:pt x="3" y="918"/>
                </a:lnTo>
                <a:lnTo>
                  <a:pt x="3" y="920"/>
                </a:lnTo>
                <a:lnTo>
                  <a:pt x="1" y="921"/>
                </a:lnTo>
                <a:lnTo>
                  <a:pt x="1" y="922"/>
                </a:lnTo>
                <a:lnTo>
                  <a:pt x="1" y="924"/>
                </a:lnTo>
                <a:lnTo>
                  <a:pt x="3" y="922"/>
                </a:lnTo>
                <a:lnTo>
                  <a:pt x="4" y="921"/>
                </a:lnTo>
                <a:lnTo>
                  <a:pt x="4" y="922"/>
                </a:lnTo>
                <a:lnTo>
                  <a:pt x="4" y="924"/>
                </a:lnTo>
                <a:lnTo>
                  <a:pt x="4" y="925"/>
                </a:lnTo>
                <a:lnTo>
                  <a:pt x="4" y="926"/>
                </a:lnTo>
                <a:lnTo>
                  <a:pt x="5" y="928"/>
                </a:lnTo>
                <a:lnTo>
                  <a:pt x="7" y="928"/>
                </a:lnTo>
                <a:lnTo>
                  <a:pt x="7" y="928"/>
                </a:lnTo>
                <a:lnTo>
                  <a:pt x="8" y="928"/>
                </a:lnTo>
                <a:lnTo>
                  <a:pt x="8" y="928"/>
                </a:lnTo>
                <a:lnTo>
                  <a:pt x="7" y="929"/>
                </a:lnTo>
                <a:lnTo>
                  <a:pt x="7" y="929"/>
                </a:lnTo>
                <a:lnTo>
                  <a:pt x="5" y="929"/>
                </a:lnTo>
                <a:lnTo>
                  <a:pt x="5" y="929"/>
                </a:lnTo>
                <a:lnTo>
                  <a:pt x="4" y="929"/>
                </a:lnTo>
                <a:lnTo>
                  <a:pt x="4" y="929"/>
                </a:lnTo>
                <a:lnTo>
                  <a:pt x="3" y="929"/>
                </a:lnTo>
                <a:lnTo>
                  <a:pt x="3" y="929"/>
                </a:lnTo>
                <a:lnTo>
                  <a:pt x="3" y="930"/>
                </a:lnTo>
                <a:lnTo>
                  <a:pt x="3" y="930"/>
                </a:lnTo>
                <a:lnTo>
                  <a:pt x="1" y="930"/>
                </a:lnTo>
                <a:lnTo>
                  <a:pt x="0" y="930"/>
                </a:lnTo>
                <a:lnTo>
                  <a:pt x="0" y="932"/>
                </a:lnTo>
                <a:lnTo>
                  <a:pt x="1" y="933"/>
                </a:lnTo>
                <a:lnTo>
                  <a:pt x="3" y="933"/>
                </a:lnTo>
                <a:lnTo>
                  <a:pt x="5" y="933"/>
                </a:lnTo>
                <a:lnTo>
                  <a:pt x="9" y="933"/>
                </a:lnTo>
                <a:lnTo>
                  <a:pt x="11" y="933"/>
                </a:lnTo>
                <a:lnTo>
                  <a:pt x="11" y="933"/>
                </a:lnTo>
                <a:lnTo>
                  <a:pt x="11" y="933"/>
                </a:lnTo>
                <a:lnTo>
                  <a:pt x="12" y="933"/>
                </a:lnTo>
                <a:lnTo>
                  <a:pt x="12" y="932"/>
                </a:lnTo>
                <a:lnTo>
                  <a:pt x="14" y="932"/>
                </a:lnTo>
                <a:lnTo>
                  <a:pt x="12" y="932"/>
                </a:lnTo>
                <a:lnTo>
                  <a:pt x="12" y="930"/>
                </a:lnTo>
                <a:lnTo>
                  <a:pt x="16" y="926"/>
                </a:lnTo>
                <a:lnTo>
                  <a:pt x="18" y="925"/>
                </a:lnTo>
                <a:lnTo>
                  <a:pt x="19" y="925"/>
                </a:lnTo>
                <a:lnTo>
                  <a:pt x="20" y="924"/>
                </a:lnTo>
                <a:lnTo>
                  <a:pt x="23" y="924"/>
                </a:lnTo>
                <a:lnTo>
                  <a:pt x="23" y="922"/>
                </a:lnTo>
                <a:lnTo>
                  <a:pt x="24" y="922"/>
                </a:lnTo>
                <a:lnTo>
                  <a:pt x="26" y="922"/>
                </a:lnTo>
                <a:lnTo>
                  <a:pt x="27" y="921"/>
                </a:lnTo>
                <a:lnTo>
                  <a:pt x="27" y="921"/>
                </a:lnTo>
                <a:lnTo>
                  <a:pt x="29" y="920"/>
                </a:lnTo>
                <a:lnTo>
                  <a:pt x="30" y="918"/>
                </a:lnTo>
                <a:lnTo>
                  <a:pt x="30" y="917"/>
                </a:lnTo>
                <a:lnTo>
                  <a:pt x="31" y="917"/>
                </a:lnTo>
                <a:lnTo>
                  <a:pt x="34" y="917"/>
                </a:lnTo>
                <a:lnTo>
                  <a:pt x="35" y="917"/>
                </a:lnTo>
                <a:lnTo>
                  <a:pt x="37" y="915"/>
                </a:lnTo>
                <a:lnTo>
                  <a:pt x="38" y="914"/>
                </a:lnTo>
                <a:lnTo>
                  <a:pt x="39" y="914"/>
                </a:lnTo>
                <a:lnTo>
                  <a:pt x="41" y="914"/>
                </a:lnTo>
                <a:lnTo>
                  <a:pt x="41" y="914"/>
                </a:lnTo>
                <a:lnTo>
                  <a:pt x="38" y="917"/>
                </a:lnTo>
                <a:lnTo>
                  <a:pt x="37" y="917"/>
                </a:lnTo>
                <a:lnTo>
                  <a:pt x="37" y="917"/>
                </a:lnTo>
                <a:lnTo>
                  <a:pt x="35" y="918"/>
                </a:lnTo>
                <a:lnTo>
                  <a:pt x="35" y="918"/>
                </a:lnTo>
                <a:lnTo>
                  <a:pt x="33" y="918"/>
                </a:lnTo>
                <a:lnTo>
                  <a:pt x="33" y="918"/>
                </a:lnTo>
                <a:lnTo>
                  <a:pt x="31" y="920"/>
                </a:lnTo>
                <a:lnTo>
                  <a:pt x="30" y="922"/>
                </a:lnTo>
                <a:lnTo>
                  <a:pt x="29" y="924"/>
                </a:lnTo>
                <a:lnTo>
                  <a:pt x="27" y="924"/>
                </a:lnTo>
                <a:lnTo>
                  <a:pt x="26" y="926"/>
                </a:lnTo>
                <a:lnTo>
                  <a:pt x="24" y="928"/>
                </a:lnTo>
                <a:lnTo>
                  <a:pt x="24" y="928"/>
                </a:lnTo>
                <a:lnTo>
                  <a:pt x="23" y="928"/>
                </a:lnTo>
                <a:lnTo>
                  <a:pt x="22" y="928"/>
                </a:lnTo>
                <a:lnTo>
                  <a:pt x="22" y="929"/>
                </a:lnTo>
                <a:lnTo>
                  <a:pt x="20" y="929"/>
                </a:lnTo>
                <a:lnTo>
                  <a:pt x="20" y="929"/>
                </a:lnTo>
                <a:lnTo>
                  <a:pt x="20" y="930"/>
                </a:lnTo>
                <a:lnTo>
                  <a:pt x="20" y="930"/>
                </a:lnTo>
                <a:lnTo>
                  <a:pt x="20" y="930"/>
                </a:lnTo>
                <a:lnTo>
                  <a:pt x="22" y="930"/>
                </a:lnTo>
                <a:lnTo>
                  <a:pt x="22" y="932"/>
                </a:lnTo>
                <a:lnTo>
                  <a:pt x="20" y="932"/>
                </a:lnTo>
                <a:lnTo>
                  <a:pt x="18" y="930"/>
                </a:lnTo>
                <a:lnTo>
                  <a:pt x="16" y="932"/>
                </a:lnTo>
                <a:lnTo>
                  <a:pt x="16" y="933"/>
                </a:lnTo>
                <a:lnTo>
                  <a:pt x="16" y="936"/>
                </a:lnTo>
                <a:lnTo>
                  <a:pt x="16" y="939"/>
                </a:lnTo>
                <a:lnTo>
                  <a:pt x="16" y="940"/>
                </a:lnTo>
                <a:lnTo>
                  <a:pt x="18" y="940"/>
                </a:lnTo>
                <a:lnTo>
                  <a:pt x="19" y="939"/>
                </a:lnTo>
                <a:lnTo>
                  <a:pt x="19" y="939"/>
                </a:lnTo>
                <a:lnTo>
                  <a:pt x="18" y="937"/>
                </a:lnTo>
                <a:lnTo>
                  <a:pt x="18" y="936"/>
                </a:lnTo>
                <a:lnTo>
                  <a:pt x="19" y="936"/>
                </a:lnTo>
                <a:lnTo>
                  <a:pt x="19" y="937"/>
                </a:lnTo>
                <a:lnTo>
                  <a:pt x="19" y="937"/>
                </a:lnTo>
                <a:lnTo>
                  <a:pt x="20" y="937"/>
                </a:lnTo>
                <a:lnTo>
                  <a:pt x="20" y="937"/>
                </a:lnTo>
                <a:lnTo>
                  <a:pt x="20" y="937"/>
                </a:lnTo>
                <a:lnTo>
                  <a:pt x="20" y="939"/>
                </a:lnTo>
                <a:lnTo>
                  <a:pt x="20" y="939"/>
                </a:lnTo>
                <a:lnTo>
                  <a:pt x="19" y="940"/>
                </a:lnTo>
                <a:lnTo>
                  <a:pt x="18" y="941"/>
                </a:lnTo>
                <a:lnTo>
                  <a:pt x="18" y="943"/>
                </a:lnTo>
                <a:lnTo>
                  <a:pt x="18" y="943"/>
                </a:lnTo>
                <a:lnTo>
                  <a:pt x="18" y="944"/>
                </a:lnTo>
                <a:lnTo>
                  <a:pt x="19" y="943"/>
                </a:lnTo>
                <a:lnTo>
                  <a:pt x="20" y="943"/>
                </a:lnTo>
                <a:lnTo>
                  <a:pt x="19" y="944"/>
                </a:lnTo>
                <a:lnTo>
                  <a:pt x="19" y="944"/>
                </a:lnTo>
                <a:lnTo>
                  <a:pt x="19" y="945"/>
                </a:lnTo>
                <a:lnTo>
                  <a:pt x="20" y="945"/>
                </a:lnTo>
                <a:lnTo>
                  <a:pt x="22" y="945"/>
                </a:lnTo>
                <a:lnTo>
                  <a:pt x="22" y="944"/>
                </a:lnTo>
                <a:lnTo>
                  <a:pt x="22" y="944"/>
                </a:lnTo>
                <a:lnTo>
                  <a:pt x="23" y="944"/>
                </a:lnTo>
                <a:lnTo>
                  <a:pt x="23" y="944"/>
                </a:lnTo>
                <a:lnTo>
                  <a:pt x="23" y="944"/>
                </a:lnTo>
                <a:lnTo>
                  <a:pt x="24" y="944"/>
                </a:lnTo>
                <a:lnTo>
                  <a:pt x="24" y="945"/>
                </a:lnTo>
                <a:lnTo>
                  <a:pt x="23" y="945"/>
                </a:lnTo>
                <a:lnTo>
                  <a:pt x="23" y="945"/>
                </a:lnTo>
                <a:lnTo>
                  <a:pt x="23" y="945"/>
                </a:lnTo>
                <a:lnTo>
                  <a:pt x="23" y="947"/>
                </a:lnTo>
                <a:lnTo>
                  <a:pt x="23" y="947"/>
                </a:lnTo>
                <a:lnTo>
                  <a:pt x="23" y="948"/>
                </a:lnTo>
                <a:lnTo>
                  <a:pt x="23" y="948"/>
                </a:lnTo>
                <a:lnTo>
                  <a:pt x="24" y="948"/>
                </a:lnTo>
                <a:lnTo>
                  <a:pt x="24" y="948"/>
                </a:lnTo>
                <a:lnTo>
                  <a:pt x="24" y="948"/>
                </a:lnTo>
                <a:lnTo>
                  <a:pt x="26" y="948"/>
                </a:lnTo>
                <a:lnTo>
                  <a:pt x="26" y="948"/>
                </a:lnTo>
                <a:lnTo>
                  <a:pt x="26" y="948"/>
                </a:lnTo>
                <a:lnTo>
                  <a:pt x="26" y="948"/>
                </a:lnTo>
                <a:lnTo>
                  <a:pt x="26" y="949"/>
                </a:lnTo>
                <a:lnTo>
                  <a:pt x="27" y="949"/>
                </a:lnTo>
                <a:lnTo>
                  <a:pt x="27" y="949"/>
                </a:lnTo>
                <a:lnTo>
                  <a:pt x="29" y="949"/>
                </a:lnTo>
                <a:lnTo>
                  <a:pt x="29" y="951"/>
                </a:lnTo>
                <a:lnTo>
                  <a:pt x="27" y="951"/>
                </a:lnTo>
                <a:lnTo>
                  <a:pt x="26" y="951"/>
                </a:lnTo>
                <a:lnTo>
                  <a:pt x="26" y="951"/>
                </a:lnTo>
                <a:lnTo>
                  <a:pt x="24" y="954"/>
                </a:lnTo>
                <a:lnTo>
                  <a:pt x="24" y="955"/>
                </a:lnTo>
                <a:lnTo>
                  <a:pt x="27" y="955"/>
                </a:lnTo>
                <a:lnTo>
                  <a:pt x="29" y="955"/>
                </a:lnTo>
                <a:lnTo>
                  <a:pt x="30" y="954"/>
                </a:lnTo>
                <a:lnTo>
                  <a:pt x="30" y="955"/>
                </a:lnTo>
                <a:lnTo>
                  <a:pt x="29" y="956"/>
                </a:lnTo>
                <a:lnTo>
                  <a:pt x="29" y="956"/>
                </a:lnTo>
                <a:lnTo>
                  <a:pt x="27" y="956"/>
                </a:lnTo>
                <a:lnTo>
                  <a:pt x="27" y="956"/>
                </a:lnTo>
                <a:lnTo>
                  <a:pt x="29" y="958"/>
                </a:lnTo>
                <a:lnTo>
                  <a:pt x="29" y="958"/>
                </a:lnTo>
                <a:lnTo>
                  <a:pt x="30" y="959"/>
                </a:lnTo>
                <a:lnTo>
                  <a:pt x="31" y="960"/>
                </a:lnTo>
                <a:lnTo>
                  <a:pt x="31" y="960"/>
                </a:lnTo>
                <a:lnTo>
                  <a:pt x="31" y="962"/>
                </a:lnTo>
                <a:lnTo>
                  <a:pt x="31" y="962"/>
                </a:lnTo>
                <a:lnTo>
                  <a:pt x="31" y="962"/>
                </a:lnTo>
                <a:lnTo>
                  <a:pt x="34" y="963"/>
                </a:lnTo>
                <a:lnTo>
                  <a:pt x="43" y="970"/>
                </a:lnTo>
                <a:lnTo>
                  <a:pt x="54" y="975"/>
                </a:lnTo>
                <a:lnTo>
                  <a:pt x="60" y="979"/>
                </a:lnTo>
                <a:lnTo>
                  <a:pt x="64" y="981"/>
                </a:lnTo>
                <a:lnTo>
                  <a:pt x="67" y="982"/>
                </a:lnTo>
                <a:lnTo>
                  <a:pt x="72" y="982"/>
                </a:lnTo>
                <a:lnTo>
                  <a:pt x="75" y="983"/>
                </a:lnTo>
                <a:lnTo>
                  <a:pt x="76" y="983"/>
                </a:lnTo>
                <a:lnTo>
                  <a:pt x="77" y="985"/>
                </a:lnTo>
                <a:lnTo>
                  <a:pt x="80" y="985"/>
                </a:lnTo>
                <a:lnTo>
                  <a:pt x="82" y="985"/>
                </a:lnTo>
                <a:lnTo>
                  <a:pt x="82" y="985"/>
                </a:lnTo>
                <a:lnTo>
                  <a:pt x="82" y="985"/>
                </a:lnTo>
                <a:lnTo>
                  <a:pt x="83" y="986"/>
                </a:lnTo>
                <a:lnTo>
                  <a:pt x="83" y="986"/>
                </a:lnTo>
                <a:lnTo>
                  <a:pt x="86" y="986"/>
                </a:lnTo>
                <a:lnTo>
                  <a:pt x="86" y="986"/>
                </a:lnTo>
                <a:lnTo>
                  <a:pt x="87" y="986"/>
                </a:lnTo>
                <a:lnTo>
                  <a:pt x="87" y="988"/>
                </a:lnTo>
                <a:lnTo>
                  <a:pt x="91" y="988"/>
                </a:lnTo>
                <a:lnTo>
                  <a:pt x="94" y="988"/>
                </a:lnTo>
                <a:lnTo>
                  <a:pt x="95" y="988"/>
                </a:lnTo>
                <a:lnTo>
                  <a:pt x="97" y="988"/>
                </a:lnTo>
                <a:lnTo>
                  <a:pt x="98" y="983"/>
                </a:lnTo>
                <a:lnTo>
                  <a:pt x="99" y="982"/>
                </a:lnTo>
                <a:lnTo>
                  <a:pt x="101" y="982"/>
                </a:lnTo>
                <a:lnTo>
                  <a:pt x="102" y="981"/>
                </a:lnTo>
                <a:lnTo>
                  <a:pt x="103" y="981"/>
                </a:lnTo>
                <a:lnTo>
                  <a:pt x="106" y="981"/>
                </a:lnTo>
                <a:lnTo>
                  <a:pt x="109" y="979"/>
                </a:lnTo>
                <a:lnTo>
                  <a:pt x="113" y="978"/>
                </a:lnTo>
                <a:lnTo>
                  <a:pt x="117" y="977"/>
                </a:lnTo>
                <a:lnTo>
                  <a:pt x="120" y="977"/>
                </a:lnTo>
                <a:lnTo>
                  <a:pt x="121" y="977"/>
                </a:lnTo>
                <a:lnTo>
                  <a:pt x="121" y="975"/>
                </a:lnTo>
                <a:lnTo>
                  <a:pt x="120" y="974"/>
                </a:lnTo>
                <a:lnTo>
                  <a:pt x="120" y="974"/>
                </a:lnTo>
                <a:lnTo>
                  <a:pt x="121" y="973"/>
                </a:lnTo>
                <a:lnTo>
                  <a:pt x="120" y="973"/>
                </a:lnTo>
                <a:lnTo>
                  <a:pt x="120" y="973"/>
                </a:lnTo>
                <a:lnTo>
                  <a:pt x="121" y="974"/>
                </a:lnTo>
                <a:lnTo>
                  <a:pt x="121" y="974"/>
                </a:lnTo>
                <a:lnTo>
                  <a:pt x="121" y="974"/>
                </a:lnTo>
                <a:lnTo>
                  <a:pt x="122" y="974"/>
                </a:lnTo>
                <a:lnTo>
                  <a:pt x="122" y="974"/>
                </a:lnTo>
                <a:lnTo>
                  <a:pt x="122" y="974"/>
                </a:lnTo>
                <a:lnTo>
                  <a:pt x="122" y="975"/>
                </a:lnTo>
                <a:lnTo>
                  <a:pt x="122" y="975"/>
                </a:lnTo>
                <a:lnTo>
                  <a:pt x="122" y="975"/>
                </a:lnTo>
                <a:lnTo>
                  <a:pt x="124" y="974"/>
                </a:lnTo>
                <a:lnTo>
                  <a:pt x="125" y="975"/>
                </a:lnTo>
                <a:lnTo>
                  <a:pt x="126" y="974"/>
                </a:lnTo>
                <a:lnTo>
                  <a:pt x="126" y="973"/>
                </a:lnTo>
                <a:lnTo>
                  <a:pt x="126" y="971"/>
                </a:lnTo>
                <a:lnTo>
                  <a:pt x="128" y="973"/>
                </a:lnTo>
                <a:lnTo>
                  <a:pt x="128" y="974"/>
                </a:lnTo>
                <a:lnTo>
                  <a:pt x="129" y="974"/>
                </a:lnTo>
                <a:lnTo>
                  <a:pt x="131" y="974"/>
                </a:lnTo>
                <a:lnTo>
                  <a:pt x="131" y="975"/>
                </a:lnTo>
                <a:lnTo>
                  <a:pt x="131" y="975"/>
                </a:lnTo>
                <a:lnTo>
                  <a:pt x="131" y="975"/>
                </a:lnTo>
                <a:lnTo>
                  <a:pt x="132" y="975"/>
                </a:lnTo>
                <a:lnTo>
                  <a:pt x="132" y="975"/>
                </a:lnTo>
                <a:lnTo>
                  <a:pt x="132" y="975"/>
                </a:lnTo>
                <a:lnTo>
                  <a:pt x="132" y="975"/>
                </a:lnTo>
                <a:lnTo>
                  <a:pt x="133" y="975"/>
                </a:lnTo>
                <a:lnTo>
                  <a:pt x="133" y="975"/>
                </a:lnTo>
                <a:lnTo>
                  <a:pt x="133" y="975"/>
                </a:lnTo>
                <a:lnTo>
                  <a:pt x="133" y="977"/>
                </a:lnTo>
                <a:lnTo>
                  <a:pt x="135" y="975"/>
                </a:lnTo>
                <a:lnTo>
                  <a:pt x="135" y="975"/>
                </a:lnTo>
                <a:lnTo>
                  <a:pt x="135" y="975"/>
                </a:lnTo>
                <a:lnTo>
                  <a:pt x="136" y="975"/>
                </a:lnTo>
                <a:lnTo>
                  <a:pt x="136" y="975"/>
                </a:lnTo>
                <a:lnTo>
                  <a:pt x="137" y="975"/>
                </a:lnTo>
                <a:lnTo>
                  <a:pt x="137" y="974"/>
                </a:lnTo>
                <a:lnTo>
                  <a:pt x="137" y="974"/>
                </a:lnTo>
                <a:lnTo>
                  <a:pt x="137" y="973"/>
                </a:lnTo>
                <a:lnTo>
                  <a:pt x="137" y="973"/>
                </a:lnTo>
                <a:lnTo>
                  <a:pt x="137" y="971"/>
                </a:lnTo>
                <a:lnTo>
                  <a:pt x="137" y="970"/>
                </a:lnTo>
                <a:lnTo>
                  <a:pt x="137" y="970"/>
                </a:lnTo>
                <a:lnTo>
                  <a:pt x="137" y="968"/>
                </a:lnTo>
                <a:lnTo>
                  <a:pt x="137" y="967"/>
                </a:lnTo>
                <a:lnTo>
                  <a:pt x="137" y="967"/>
                </a:lnTo>
                <a:lnTo>
                  <a:pt x="137" y="966"/>
                </a:lnTo>
                <a:lnTo>
                  <a:pt x="140" y="964"/>
                </a:lnTo>
                <a:lnTo>
                  <a:pt x="140" y="964"/>
                </a:lnTo>
                <a:lnTo>
                  <a:pt x="141" y="963"/>
                </a:lnTo>
                <a:lnTo>
                  <a:pt x="141" y="963"/>
                </a:lnTo>
                <a:lnTo>
                  <a:pt x="143" y="964"/>
                </a:lnTo>
                <a:lnTo>
                  <a:pt x="144" y="966"/>
                </a:lnTo>
                <a:lnTo>
                  <a:pt x="144" y="967"/>
                </a:lnTo>
                <a:lnTo>
                  <a:pt x="144" y="968"/>
                </a:lnTo>
                <a:lnTo>
                  <a:pt x="144" y="970"/>
                </a:lnTo>
                <a:lnTo>
                  <a:pt x="144" y="971"/>
                </a:lnTo>
                <a:lnTo>
                  <a:pt x="144" y="971"/>
                </a:lnTo>
                <a:lnTo>
                  <a:pt x="143" y="973"/>
                </a:lnTo>
                <a:lnTo>
                  <a:pt x="143" y="974"/>
                </a:lnTo>
                <a:lnTo>
                  <a:pt x="143" y="974"/>
                </a:lnTo>
                <a:lnTo>
                  <a:pt x="141" y="974"/>
                </a:lnTo>
                <a:lnTo>
                  <a:pt x="140" y="974"/>
                </a:lnTo>
                <a:lnTo>
                  <a:pt x="140" y="974"/>
                </a:lnTo>
                <a:lnTo>
                  <a:pt x="139" y="974"/>
                </a:lnTo>
                <a:lnTo>
                  <a:pt x="137" y="977"/>
                </a:lnTo>
                <a:lnTo>
                  <a:pt x="136" y="977"/>
                </a:lnTo>
                <a:lnTo>
                  <a:pt x="136" y="978"/>
                </a:lnTo>
                <a:lnTo>
                  <a:pt x="133" y="982"/>
                </a:lnTo>
                <a:lnTo>
                  <a:pt x="132" y="982"/>
                </a:lnTo>
                <a:lnTo>
                  <a:pt x="132" y="983"/>
                </a:lnTo>
                <a:lnTo>
                  <a:pt x="132" y="983"/>
                </a:lnTo>
                <a:lnTo>
                  <a:pt x="132" y="985"/>
                </a:lnTo>
                <a:lnTo>
                  <a:pt x="132" y="986"/>
                </a:lnTo>
                <a:lnTo>
                  <a:pt x="129" y="990"/>
                </a:lnTo>
                <a:lnTo>
                  <a:pt x="126" y="994"/>
                </a:lnTo>
                <a:lnTo>
                  <a:pt x="125" y="997"/>
                </a:lnTo>
                <a:lnTo>
                  <a:pt x="124" y="998"/>
                </a:lnTo>
                <a:lnTo>
                  <a:pt x="124" y="1000"/>
                </a:lnTo>
                <a:lnTo>
                  <a:pt x="121" y="1001"/>
                </a:lnTo>
                <a:lnTo>
                  <a:pt x="116" y="1000"/>
                </a:lnTo>
                <a:lnTo>
                  <a:pt x="114" y="1000"/>
                </a:lnTo>
                <a:lnTo>
                  <a:pt x="113" y="1001"/>
                </a:lnTo>
                <a:lnTo>
                  <a:pt x="113" y="1001"/>
                </a:lnTo>
                <a:lnTo>
                  <a:pt x="111" y="1001"/>
                </a:lnTo>
                <a:lnTo>
                  <a:pt x="111" y="1001"/>
                </a:lnTo>
                <a:lnTo>
                  <a:pt x="110" y="1001"/>
                </a:lnTo>
                <a:lnTo>
                  <a:pt x="107" y="1005"/>
                </a:lnTo>
                <a:lnTo>
                  <a:pt x="106" y="1005"/>
                </a:lnTo>
                <a:lnTo>
                  <a:pt x="105" y="1007"/>
                </a:lnTo>
                <a:lnTo>
                  <a:pt x="103" y="1007"/>
                </a:lnTo>
                <a:lnTo>
                  <a:pt x="103" y="1007"/>
                </a:lnTo>
                <a:lnTo>
                  <a:pt x="102" y="1007"/>
                </a:lnTo>
                <a:lnTo>
                  <a:pt x="102" y="1007"/>
                </a:lnTo>
                <a:lnTo>
                  <a:pt x="102" y="1008"/>
                </a:lnTo>
                <a:lnTo>
                  <a:pt x="102" y="1008"/>
                </a:lnTo>
                <a:lnTo>
                  <a:pt x="101" y="1009"/>
                </a:lnTo>
                <a:lnTo>
                  <a:pt x="101" y="1009"/>
                </a:lnTo>
                <a:lnTo>
                  <a:pt x="99" y="1009"/>
                </a:lnTo>
                <a:lnTo>
                  <a:pt x="97" y="1005"/>
                </a:lnTo>
                <a:lnTo>
                  <a:pt x="97" y="1005"/>
                </a:lnTo>
                <a:lnTo>
                  <a:pt x="97" y="1007"/>
                </a:lnTo>
                <a:lnTo>
                  <a:pt x="95" y="1009"/>
                </a:lnTo>
                <a:lnTo>
                  <a:pt x="94" y="1011"/>
                </a:lnTo>
                <a:lnTo>
                  <a:pt x="94" y="1011"/>
                </a:lnTo>
                <a:lnTo>
                  <a:pt x="94" y="1009"/>
                </a:lnTo>
                <a:lnTo>
                  <a:pt x="92" y="1009"/>
                </a:lnTo>
                <a:lnTo>
                  <a:pt x="92" y="1009"/>
                </a:lnTo>
                <a:lnTo>
                  <a:pt x="92" y="1011"/>
                </a:lnTo>
                <a:lnTo>
                  <a:pt x="92" y="1011"/>
                </a:lnTo>
                <a:lnTo>
                  <a:pt x="92" y="1011"/>
                </a:lnTo>
                <a:lnTo>
                  <a:pt x="91" y="1011"/>
                </a:lnTo>
                <a:lnTo>
                  <a:pt x="91" y="1012"/>
                </a:lnTo>
                <a:lnTo>
                  <a:pt x="91" y="1012"/>
                </a:lnTo>
                <a:lnTo>
                  <a:pt x="90" y="1012"/>
                </a:lnTo>
                <a:lnTo>
                  <a:pt x="90" y="1012"/>
                </a:lnTo>
                <a:lnTo>
                  <a:pt x="90" y="1012"/>
                </a:lnTo>
                <a:lnTo>
                  <a:pt x="90" y="1013"/>
                </a:lnTo>
                <a:lnTo>
                  <a:pt x="88" y="1012"/>
                </a:lnTo>
                <a:lnTo>
                  <a:pt x="87" y="1012"/>
                </a:lnTo>
                <a:lnTo>
                  <a:pt x="86" y="1012"/>
                </a:lnTo>
                <a:lnTo>
                  <a:pt x="86" y="1011"/>
                </a:lnTo>
                <a:lnTo>
                  <a:pt x="86" y="1009"/>
                </a:lnTo>
                <a:lnTo>
                  <a:pt x="86" y="1007"/>
                </a:lnTo>
                <a:lnTo>
                  <a:pt x="84" y="1007"/>
                </a:lnTo>
                <a:lnTo>
                  <a:pt x="84" y="1008"/>
                </a:lnTo>
                <a:lnTo>
                  <a:pt x="84" y="1007"/>
                </a:lnTo>
                <a:lnTo>
                  <a:pt x="83" y="1007"/>
                </a:lnTo>
                <a:lnTo>
                  <a:pt x="83" y="1008"/>
                </a:lnTo>
                <a:lnTo>
                  <a:pt x="83" y="1009"/>
                </a:lnTo>
                <a:lnTo>
                  <a:pt x="84" y="1011"/>
                </a:lnTo>
                <a:lnTo>
                  <a:pt x="84" y="1011"/>
                </a:lnTo>
                <a:lnTo>
                  <a:pt x="83" y="1012"/>
                </a:lnTo>
                <a:lnTo>
                  <a:pt x="83" y="1012"/>
                </a:lnTo>
                <a:lnTo>
                  <a:pt x="83" y="1012"/>
                </a:lnTo>
                <a:lnTo>
                  <a:pt x="83" y="1012"/>
                </a:lnTo>
                <a:lnTo>
                  <a:pt x="83" y="1012"/>
                </a:lnTo>
                <a:lnTo>
                  <a:pt x="82" y="1013"/>
                </a:lnTo>
                <a:lnTo>
                  <a:pt x="82" y="1013"/>
                </a:lnTo>
                <a:lnTo>
                  <a:pt x="80" y="1015"/>
                </a:lnTo>
                <a:lnTo>
                  <a:pt x="79" y="1015"/>
                </a:lnTo>
                <a:lnTo>
                  <a:pt x="73" y="1015"/>
                </a:lnTo>
                <a:lnTo>
                  <a:pt x="73" y="1015"/>
                </a:lnTo>
                <a:lnTo>
                  <a:pt x="72" y="1016"/>
                </a:lnTo>
                <a:lnTo>
                  <a:pt x="69" y="1017"/>
                </a:lnTo>
                <a:lnTo>
                  <a:pt x="65" y="1019"/>
                </a:lnTo>
                <a:lnTo>
                  <a:pt x="65" y="1017"/>
                </a:lnTo>
                <a:lnTo>
                  <a:pt x="64" y="1017"/>
                </a:lnTo>
                <a:lnTo>
                  <a:pt x="63" y="1016"/>
                </a:lnTo>
                <a:lnTo>
                  <a:pt x="63" y="1015"/>
                </a:lnTo>
                <a:lnTo>
                  <a:pt x="64" y="1013"/>
                </a:lnTo>
                <a:lnTo>
                  <a:pt x="63" y="1012"/>
                </a:lnTo>
                <a:lnTo>
                  <a:pt x="64" y="1011"/>
                </a:lnTo>
                <a:lnTo>
                  <a:pt x="64" y="1009"/>
                </a:lnTo>
                <a:lnTo>
                  <a:pt x="64" y="1008"/>
                </a:lnTo>
                <a:lnTo>
                  <a:pt x="63" y="1008"/>
                </a:lnTo>
                <a:lnTo>
                  <a:pt x="63" y="1009"/>
                </a:lnTo>
                <a:lnTo>
                  <a:pt x="61" y="1009"/>
                </a:lnTo>
                <a:lnTo>
                  <a:pt x="61" y="1011"/>
                </a:lnTo>
                <a:lnTo>
                  <a:pt x="61" y="1009"/>
                </a:lnTo>
                <a:lnTo>
                  <a:pt x="60" y="1009"/>
                </a:lnTo>
                <a:lnTo>
                  <a:pt x="60" y="1009"/>
                </a:lnTo>
                <a:lnTo>
                  <a:pt x="58" y="1009"/>
                </a:lnTo>
                <a:lnTo>
                  <a:pt x="58" y="1011"/>
                </a:lnTo>
                <a:lnTo>
                  <a:pt x="57" y="1011"/>
                </a:lnTo>
                <a:lnTo>
                  <a:pt x="57" y="1011"/>
                </a:lnTo>
                <a:lnTo>
                  <a:pt x="56" y="1009"/>
                </a:lnTo>
                <a:lnTo>
                  <a:pt x="54" y="1008"/>
                </a:lnTo>
                <a:lnTo>
                  <a:pt x="56" y="1008"/>
                </a:lnTo>
                <a:lnTo>
                  <a:pt x="57" y="1007"/>
                </a:lnTo>
                <a:lnTo>
                  <a:pt x="57" y="1007"/>
                </a:lnTo>
                <a:lnTo>
                  <a:pt x="57" y="1005"/>
                </a:lnTo>
                <a:lnTo>
                  <a:pt x="57" y="1005"/>
                </a:lnTo>
                <a:lnTo>
                  <a:pt x="57" y="1005"/>
                </a:lnTo>
                <a:lnTo>
                  <a:pt x="54" y="1007"/>
                </a:lnTo>
                <a:lnTo>
                  <a:pt x="53" y="1008"/>
                </a:lnTo>
                <a:lnTo>
                  <a:pt x="52" y="1008"/>
                </a:lnTo>
                <a:lnTo>
                  <a:pt x="52" y="1009"/>
                </a:lnTo>
                <a:lnTo>
                  <a:pt x="50" y="1011"/>
                </a:lnTo>
                <a:lnTo>
                  <a:pt x="50" y="1011"/>
                </a:lnTo>
                <a:lnTo>
                  <a:pt x="50" y="1012"/>
                </a:lnTo>
                <a:lnTo>
                  <a:pt x="50" y="1013"/>
                </a:lnTo>
                <a:lnTo>
                  <a:pt x="49" y="1015"/>
                </a:lnTo>
                <a:lnTo>
                  <a:pt x="49" y="1016"/>
                </a:lnTo>
                <a:lnTo>
                  <a:pt x="49" y="1017"/>
                </a:lnTo>
                <a:lnTo>
                  <a:pt x="49" y="1019"/>
                </a:lnTo>
                <a:lnTo>
                  <a:pt x="50" y="1021"/>
                </a:lnTo>
                <a:lnTo>
                  <a:pt x="52" y="1023"/>
                </a:lnTo>
                <a:lnTo>
                  <a:pt x="53" y="1024"/>
                </a:lnTo>
                <a:lnTo>
                  <a:pt x="54" y="1026"/>
                </a:lnTo>
                <a:lnTo>
                  <a:pt x="57" y="1030"/>
                </a:lnTo>
                <a:lnTo>
                  <a:pt x="58" y="1031"/>
                </a:lnTo>
                <a:lnTo>
                  <a:pt x="60" y="1032"/>
                </a:lnTo>
                <a:lnTo>
                  <a:pt x="61" y="1034"/>
                </a:lnTo>
                <a:lnTo>
                  <a:pt x="64" y="1038"/>
                </a:lnTo>
                <a:lnTo>
                  <a:pt x="65" y="1038"/>
                </a:lnTo>
                <a:lnTo>
                  <a:pt x="67" y="1039"/>
                </a:lnTo>
                <a:lnTo>
                  <a:pt x="72" y="1045"/>
                </a:lnTo>
                <a:lnTo>
                  <a:pt x="73" y="1046"/>
                </a:lnTo>
                <a:lnTo>
                  <a:pt x="75" y="1045"/>
                </a:lnTo>
                <a:lnTo>
                  <a:pt x="76" y="1043"/>
                </a:lnTo>
                <a:lnTo>
                  <a:pt x="76" y="1045"/>
                </a:lnTo>
                <a:lnTo>
                  <a:pt x="76" y="1047"/>
                </a:lnTo>
                <a:lnTo>
                  <a:pt x="76" y="1047"/>
                </a:lnTo>
                <a:lnTo>
                  <a:pt x="77" y="1050"/>
                </a:lnTo>
                <a:lnTo>
                  <a:pt x="79" y="1051"/>
                </a:lnTo>
                <a:lnTo>
                  <a:pt x="82" y="1051"/>
                </a:lnTo>
                <a:lnTo>
                  <a:pt x="83" y="1054"/>
                </a:lnTo>
                <a:lnTo>
                  <a:pt x="83" y="1055"/>
                </a:lnTo>
                <a:lnTo>
                  <a:pt x="86" y="1057"/>
                </a:lnTo>
                <a:lnTo>
                  <a:pt x="87" y="1058"/>
                </a:lnTo>
                <a:lnTo>
                  <a:pt x="90" y="1061"/>
                </a:lnTo>
                <a:lnTo>
                  <a:pt x="98" y="1069"/>
                </a:lnTo>
                <a:lnTo>
                  <a:pt x="99" y="1069"/>
                </a:lnTo>
                <a:lnTo>
                  <a:pt x="99" y="1070"/>
                </a:lnTo>
                <a:lnTo>
                  <a:pt x="101" y="1070"/>
                </a:lnTo>
                <a:lnTo>
                  <a:pt x="102" y="1072"/>
                </a:lnTo>
                <a:lnTo>
                  <a:pt x="103" y="1075"/>
                </a:lnTo>
                <a:lnTo>
                  <a:pt x="107" y="1080"/>
                </a:lnTo>
                <a:lnTo>
                  <a:pt x="110" y="1083"/>
                </a:lnTo>
                <a:lnTo>
                  <a:pt x="110" y="1083"/>
                </a:lnTo>
                <a:lnTo>
                  <a:pt x="111" y="1084"/>
                </a:lnTo>
                <a:lnTo>
                  <a:pt x="116" y="1091"/>
                </a:lnTo>
                <a:lnTo>
                  <a:pt x="122" y="1095"/>
                </a:lnTo>
                <a:lnTo>
                  <a:pt x="129" y="1102"/>
                </a:lnTo>
                <a:lnTo>
                  <a:pt x="131" y="1103"/>
                </a:lnTo>
                <a:lnTo>
                  <a:pt x="133" y="1104"/>
                </a:lnTo>
                <a:lnTo>
                  <a:pt x="137" y="1106"/>
                </a:lnTo>
                <a:lnTo>
                  <a:pt x="137" y="1107"/>
                </a:lnTo>
                <a:lnTo>
                  <a:pt x="140" y="1110"/>
                </a:lnTo>
                <a:lnTo>
                  <a:pt x="140" y="1110"/>
                </a:lnTo>
                <a:lnTo>
                  <a:pt x="141" y="1110"/>
                </a:lnTo>
                <a:lnTo>
                  <a:pt x="145" y="1113"/>
                </a:lnTo>
                <a:lnTo>
                  <a:pt x="155" y="1117"/>
                </a:lnTo>
                <a:lnTo>
                  <a:pt x="156" y="1118"/>
                </a:lnTo>
                <a:lnTo>
                  <a:pt x="158" y="1118"/>
                </a:lnTo>
                <a:lnTo>
                  <a:pt x="158" y="1118"/>
                </a:lnTo>
                <a:lnTo>
                  <a:pt x="159" y="1118"/>
                </a:lnTo>
                <a:lnTo>
                  <a:pt x="159" y="1118"/>
                </a:lnTo>
                <a:lnTo>
                  <a:pt x="160" y="1118"/>
                </a:lnTo>
                <a:lnTo>
                  <a:pt x="162" y="1118"/>
                </a:lnTo>
                <a:lnTo>
                  <a:pt x="162" y="1119"/>
                </a:lnTo>
                <a:lnTo>
                  <a:pt x="163" y="1119"/>
                </a:lnTo>
                <a:lnTo>
                  <a:pt x="171" y="1118"/>
                </a:lnTo>
                <a:lnTo>
                  <a:pt x="173" y="1118"/>
                </a:lnTo>
                <a:lnTo>
                  <a:pt x="173" y="1118"/>
                </a:lnTo>
                <a:lnTo>
                  <a:pt x="174" y="1117"/>
                </a:lnTo>
                <a:lnTo>
                  <a:pt x="174" y="1117"/>
                </a:lnTo>
                <a:lnTo>
                  <a:pt x="174" y="1117"/>
                </a:lnTo>
                <a:lnTo>
                  <a:pt x="175" y="1117"/>
                </a:lnTo>
                <a:lnTo>
                  <a:pt x="177" y="1117"/>
                </a:lnTo>
                <a:lnTo>
                  <a:pt x="178" y="1117"/>
                </a:lnTo>
                <a:lnTo>
                  <a:pt x="178" y="1115"/>
                </a:lnTo>
                <a:lnTo>
                  <a:pt x="179" y="1115"/>
                </a:lnTo>
                <a:lnTo>
                  <a:pt x="179" y="1115"/>
                </a:lnTo>
                <a:lnTo>
                  <a:pt x="181" y="1115"/>
                </a:lnTo>
                <a:lnTo>
                  <a:pt x="182" y="1115"/>
                </a:lnTo>
                <a:lnTo>
                  <a:pt x="193" y="1110"/>
                </a:lnTo>
                <a:lnTo>
                  <a:pt x="196" y="1109"/>
                </a:lnTo>
                <a:lnTo>
                  <a:pt x="201" y="1107"/>
                </a:lnTo>
                <a:lnTo>
                  <a:pt x="203" y="1106"/>
                </a:lnTo>
                <a:lnTo>
                  <a:pt x="203" y="1106"/>
                </a:lnTo>
                <a:lnTo>
                  <a:pt x="203" y="1104"/>
                </a:lnTo>
                <a:lnTo>
                  <a:pt x="205" y="1102"/>
                </a:lnTo>
                <a:lnTo>
                  <a:pt x="207" y="1102"/>
                </a:lnTo>
                <a:lnTo>
                  <a:pt x="208" y="1102"/>
                </a:lnTo>
                <a:lnTo>
                  <a:pt x="207" y="1102"/>
                </a:lnTo>
                <a:lnTo>
                  <a:pt x="207" y="1102"/>
                </a:lnTo>
                <a:lnTo>
                  <a:pt x="207" y="1103"/>
                </a:lnTo>
                <a:lnTo>
                  <a:pt x="208" y="1103"/>
                </a:lnTo>
                <a:lnTo>
                  <a:pt x="212" y="1100"/>
                </a:lnTo>
                <a:lnTo>
                  <a:pt x="215" y="1099"/>
                </a:lnTo>
                <a:lnTo>
                  <a:pt x="216" y="1098"/>
                </a:lnTo>
                <a:lnTo>
                  <a:pt x="218" y="1098"/>
                </a:lnTo>
                <a:lnTo>
                  <a:pt x="218" y="1098"/>
                </a:lnTo>
                <a:lnTo>
                  <a:pt x="219" y="1098"/>
                </a:lnTo>
                <a:lnTo>
                  <a:pt x="220" y="1098"/>
                </a:lnTo>
                <a:lnTo>
                  <a:pt x="222" y="1096"/>
                </a:lnTo>
                <a:lnTo>
                  <a:pt x="230" y="1092"/>
                </a:lnTo>
                <a:lnTo>
                  <a:pt x="233" y="1092"/>
                </a:lnTo>
                <a:lnTo>
                  <a:pt x="233" y="1091"/>
                </a:lnTo>
                <a:lnTo>
                  <a:pt x="237" y="1089"/>
                </a:lnTo>
                <a:lnTo>
                  <a:pt x="238" y="1089"/>
                </a:lnTo>
                <a:lnTo>
                  <a:pt x="238" y="1088"/>
                </a:lnTo>
                <a:lnTo>
                  <a:pt x="238" y="1088"/>
                </a:lnTo>
                <a:lnTo>
                  <a:pt x="239" y="1088"/>
                </a:lnTo>
                <a:lnTo>
                  <a:pt x="239" y="1088"/>
                </a:lnTo>
                <a:lnTo>
                  <a:pt x="241" y="1087"/>
                </a:lnTo>
                <a:lnTo>
                  <a:pt x="241" y="1085"/>
                </a:lnTo>
                <a:lnTo>
                  <a:pt x="239" y="1084"/>
                </a:lnTo>
                <a:lnTo>
                  <a:pt x="239" y="1084"/>
                </a:lnTo>
                <a:lnTo>
                  <a:pt x="239" y="1084"/>
                </a:lnTo>
                <a:lnTo>
                  <a:pt x="239" y="1083"/>
                </a:lnTo>
                <a:lnTo>
                  <a:pt x="239" y="1083"/>
                </a:lnTo>
                <a:lnTo>
                  <a:pt x="239" y="1081"/>
                </a:lnTo>
                <a:lnTo>
                  <a:pt x="241" y="1081"/>
                </a:lnTo>
                <a:lnTo>
                  <a:pt x="241" y="1081"/>
                </a:lnTo>
                <a:lnTo>
                  <a:pt x="241" y="1080"/>
                </a:lnTo>
                <a:lnTo>
                  <a:pt x="241" y="1080"/>
                </a:lnTo>
                <a:lnTo>
                  <a:pt x="241" y="1080"/>
                </a:lnTo>
                <a:lnTo>
                  <a:pt x="243" y="1077"/>
                </a:lnTo>
                <a:lnTo>
                  <a:pt x="243" y="1076"/>
                </a:lnTo>
                <a:lnTo>
                  <a:pt x="243" y="1075"/>
                </a:lnTo>
                <a:lnTo>
                  <a:pt x="248" y="1072"/>
                </a:lnTo>
                <a:lnTo>
                  <a:pt x="249" y="1069"/>
                </a:lnTo>
                <a:lnTo>
                  <a:pt x="250" y="1062"/>
                </a:lnTo>
                <a:lnTo>
                  <a:pt x="250" y="1062"/>
                </a:lnTo>
                <a:lnTo>
                  <a:pt x="252" y="1061"/>
                </a:lnTo>
                <a:lnTo>
                  <a:pt x="252" y="1061"/>
                </a:lnTo>
                <a:lnTo>
                  <a:pt x="252" y="1060"/>
                </a:lnTo>
                <a:lnTo>
                  <a:pt x="252" y="1060"/>
                </a:lnTo>
                <a:lnTo>
                  <a:pt x="252" y="1060"/>
                </a:lnTo>
                <a:lnTo>
                  <a:pt x="252" y="1058"/>
                </a:lnTo>
                <a:lnTo>
                  <a:pt x="252" y="1058"/>
                </a:lnTo>
                <a:lnTo>
                  <a:pt x="252" y="1057"/>
                </a:lnTo>
                <a:lnTo>
                  <a:pt x="250" y="1057"/>
                </a:lnTo>
                <a:lnTo>
                  <a:pt x="250" y="1055"/>
                </a:lnTo>
                <a:lnTo>
                  <a:pt x="250" y="1055"/>
                </a:lnTo>
                <a:lnTo>
                  <a:pt x="249" y="1055"/>
                </a:lnTo>
                <a:lnTo>
                  <a:pt x="249" y="1055"/>
                </a:lnTo>
                <a:lnTo>
                  <a:pt x="248" y="1055"/>
                </a:lnTo>
                <a:lnTo>
                  <a:pt x="248" y="1055"/>
                </a:lnTo>
                <a:lnTo>
                  <a:pt x="248" y="1055"/>
                </a:lnTo>
                <a:lnTo>
                  <a:pt x="246" y="1054"/>
                </a:lnTo>
                <a:lnTo>
                  <a:pt x="246" y="1053"/>
                </a:lnTo>
                <a:lnTo>
                  <a:pt x="246" y="1051"/>
                </a:lnTo>
                <a:lnTo>
                  <a:pt x="246" y="1051"/>
                </a:lnTo>
                <a:lnTo>
                  <a:pt x="245" y="1051"/>
                </a:lnTo>
                <a:lnTo>
                  <a:pt x="245" y="1050"/>
                </a:lnTo>
                <a:lnTo>
                  <a:pt x="245" y="1050"/>
                </a:lnTo>
                <a:lnTo>
                  <a:pt x="243" y="1049"/>
                </a:lnTo>
                <a:lnTo>
                  <a:pt x="241" y="1050"/>
                </a:lnTo>
                <a:lnTo>
                  <a:pt x="239" y="1050"/>
                </a:lnTo>
                <a:lnTo>
                  <a:pt x="239" y="1050"/>
                </a:lnTo>
                <a:lnTo>
                  <a:pt x="238" y="1050"/>
                </a:lnTo>
                <a:lnTo>
                  <a:pt x="237" y="1050"/>
                </a:lnTo>
                <a:lnTo>
                  <a:pt x="235" y="1050"/>
                </a:lnTo>
                <a:lnTo>
                  <a:pt x="235" y="1050"/>
                </a:lnTo>
                <a:lnTo>
                  <a:pt x="235" y="1049"/>
                </a:lnTo>
                <a:lnTo>
                  <a:pt x="235" y="1049"/>
                </a:lnTo>
                <a:lnTo>
                  <a:pt x="234" y="1049"/>
                </a:lnTo>
                <a:lnTo>
                  <a:pt x="234" y="1049"/>
                </a:lnTo>
                <a:lnTo>
                  <a:pt x="234" y="1050"/>
                </a:lnTo>
                <a:lnTo>
                  <a:pt x="234" y="1049"/>
                </a:lnTo>
                <a:lnTo>
                  <a:pt x="234" y="1049"/>
                </a:lnTo>
                <a:lnTo>
                  <a:pt x="234" y="1046"/>
                </a:lnTo>
                <a:lnTo>
                  <a:pt x="234" y="1046"/>
                </a:lnTo>
                <a:lnTo>
                  <a:pt x="234" y="1045"/>
                </a:lnTo>
                <a:lnTo>
                  <a:pt x="238" y="1046"/>
                </a:lnTo>
                <a:lnTo>
                  <a:pt x="239" y="1047"/>
                </a:lnTo>
                <a:lnTo>
                  <a:pt x="241" y="1046"/>
                </a:lnTo>
                <a:lnTo>
                  <a:pt x="239" y="1045"/>
                </a:lnTo>
                <a:lnTo>
                  <a:pt x="238" y="1045"/>
                </a:lnTo>
                <a:lnTo>
                  <a:pt x="238" y="1045"/>
                </a:lnTo>
                <a:lnTo>
                  <a:pt x="238" y="1045"/>
                </a:lnTo>
                <a:lnTo>
                  <a:pt x="237" y="1043"/>
                </a:lnTo>
                <a:lnTo>
                  <a:pt x="237" y="1043"/>
                </a:lnTo>
                <a:lnTo>
                  <a:pt x="237" y="1042"/>
                </a:lnTo>
                <a:lnTo>
                  <a:pt x="238" y="1043"/>
                </a:lnTo>
                <a:lnTo>
                  <a:pt x="239" y="1043"/>
                </a:lnTo>
                <a:lnTo>
                  <a:pt x="241" y="1045"/>
                </a:lnTo>
                <a:lnTo>
                  <a:pt x="241" y="1046"/>
                </a:lnTo>
                <a:lnTo>
                  <a:pt x="242" y="1046"/>
                </a:lnTo>
                <a:lnTo>
                  <a:pt x="243" y="1046"/>
                </a:lnTo>
                <a:lnTo>
                  <a:pt x="243" y="1046"/>
                </a:lnTo>
                <a:lnTo>
                  <a:pt x="243" y="1046"/>
                </a:lnTo>
                <a:lnTo>
                  <a:pt x="243" y="1045"/>
                </a:lnTo>
                <a:lnTo>
                  <a:pt x="243" y="1043"/>
                </a:lnTo>
                <a:lnTo>
                  <a:pt x="243" y="1043"/>
                </a:lnTo>
                <a:lnTo>
                  <a:pt x="243" y="1042"/>
                </a:lnTo>
                <a:lnTo>
                  <a:pt x="243" y="1042"/>
                </a:lnTo>
                <a:lnTo>
                  <a:pt x="242" y="1042"/>
                </a:lnTo>
                <a:lnTo>
                  <a:pt x="242" y="1042"/>
                </a:lnTo>
                <a:lnTo>
                  <a:pt x="243" y="1041"/>
                </a:lnTo>
                <a:lnTo>
                  <a:pt x="242" y="1041"/>
                </a:lnTo>
                <a:lnTo>
                  <a:pt x="241" y="1042"/>
                </a:lnTo>
                <a:lnTo>
                  <a:pt x="239" y="1041"/>
                </a:lnTo>
                <a:lnTo>
                  <a:pt x="235" y="1041"/>
                </a:lnTo>
                <a:lnTo>
                  <a:pt x="237" y="1039"/>
                </a:lnTo>
                <a:lnTo>
                  <a:pt x="237" y="1039"/>
                </a:lnTo>
                <a:lnTo>
                  <a:pt x="238" y="1039"/>
                </a:lnTo>
                <a:lnTo>
                  <a:pt x="239" y="1039"/>
                </a:lnTo>
                <a:lnTo>
                  <a:pt x="239" y="1039"/>
                </a:lnTo>
                <a:lnTo>
                  <a:pt x="239" y="1039"/>
                </a:lnTo>
                <a:lnTo>
                  <a:pt x="241" y="1039"/>
                </a:lnTo>
                <a:lnTo>
                  <a:pt x="241" y="1039"/>
                </a:lnTo>
                <a:lnTo>
                  <a:pt x="239" y="1038"/>
                </a:lnTo>
                <a:lnTo>
                  <a:pt x="238" y="1038"/>
                </a:lnTo>
                <a:lnTo>
                  <a:pt x="241" y="1038"/>
                </a:lnTo>
                <a:lnTo>
                  <a:pt x="241" y="1038"/>
                </a:lnTo>
                <a:lnTo>
                  <a:pt x="242" y="1036"/>
                </a:lnTo>
                <a:lnTo>
                  <a:pt x="241" y="1036"/>
                </a:lnTo>
                <a:lnTo>
                  <a:pt x="239" y="1035"/>
                </a:lnTo>
                <a:lnTo>
                  <a:pt x="241" y="1035"/>
                </a:lnTo>
                <a:lnTo>
                  <a:pt x="242" y="1035"/>
                </a:lnTo>
                <a:lnTo>
                  <a:pt x="243" y="1036"/>
                </a:lnTo>
                <a:lnTo>
                  <a:pt x="243" y="1036"/>
                </a:lnTo>
                <a:lnTo>
                  <a:pt x="243" y="1038"/>
                </a:lnTo>
                <a:lnTo>
                  <a:pt x="245" y="1038"/>
                </a:lnTo>
                <a:lnTo>
                  <a:pt x="245" y="1036"/>
                </a:lnTo>
                <a:lnTo>
                  <a:pt x="245" y="1036"/>
                </a:lnTo>
                <a:lnTo>
                  <a:pt x="245" y="1036"/>
                </a:lnTo>
                <a:lnTo>
                  <a:pt x="246" y="1035"/>
                </a:lnTo>
                <a:lnTo>
                  <a:pt x="246" y="1035"/>
                </a:lnTo>
                <a:lnTo>
                  <a:pt x="246" y="1036"/>
                </a:lnTo>
                <a:lnTo>
                  <a:pt x="246" y="1036"/>
                </a:lnTo>
                <a:lnTo>
                  <a:pt x="248" y="1035"/>
                </a:lnTo>
                <a:lnTo>
                  <a:pt x="248" y="1035"/>
                </a:lnTo>
                <a:lnTo>
                  <a:pt x="248" y="1035"/>
                </a:lnTo>
                <a:lnTo>
                  <a:pt x="249" y="1035"/>
                </a:lnTo>
                <a:lnTo>
                  <a:pt x="249" y="1035"/>
                </a:lnTo>
                <a:lnTo>
                  <a:pt x="250" y="1034"/>
                </a:lnTo>
                <a:lnTo>
                  <a:pt x="250" y="1034"/>
                </a:lnTo>
                <a:lnTo>
                  <a:pt x="252" y="1034"/>
                </a:lnTo>
                <a:lnTo>
                  <a:pt x="252" y="1032"/>
                </a:lnTo>
                <a:lnTo>
                  <a:pt x="252" y="1032"/>
                </a:lnTo>
                <a:lnTo>
                  <a:pt x="252" y="1032"/>
                </a:lnTo>
                <a:lnTo>
                  <a:pt x="253" y="1031"/>
                </a:lnTo>
                <a:lnTo>
                  <a:pt x="253" y="1024"/>
                </a:lnTo>
                <a:lnTo>
                  <a:pt x="253" y="1021"/>
                </a:lnTo>
                <a:lnTo>
                  <a:pt x="250" y="1021"/>
                </a:lnTo>
                <a:lnTo>
                  <a:pt x="249" y="1020"/>
                </a:lnTo>
                <a:lnTo>
                  <a:pt x="248" y="1020"/>
                </a:lnTo>
                <a:lnTo>
                  <a:pt x="248" y="1020"/>
                </a:lnTo>
                <a:lnTo>
                  <a:pt x="249" y="1019"/>
                </a:lnTo>
                <a:lnTo>
                  <a:pt x="249" y="1019"/>
                </a:lnTo>
                <a:lnTo>
                  <a:pt x="249" y="1017"/>
                </a:lnTo>
                <a:lnTo>
                  <a:pt x="246" y="1019"/>
                </a:lnTo>
                <a:lnTo>
                  <a:pt x="245" y="1020"/>
                </a:lnTo>
                <a:lnTo>
                  <a:pt x="243" y="1019"/>
                </a:lnTo>
                <a:lnTo>
                  <a:pt x="243" y="1019"/>
                </a:lnTo>
                <a:lnTo>
                  <a:pt x="243" y="1017"/>
                </a:lnTo>
                <a:lnTo>
                  <a:pt x="246" y="1019"/>
                </a:lnTo>
                <a:lnTo>
                  <a:pt x="246" y="1017"/>
                </a:lnTo>
                <a:lnTo>
                  <a:pt x="246" y="1016"/>
                </a:lnTo>
                <a:lnTo>
                  <a:pt x="248" y="1016"/>
                </a:lnTo>
                <a:lnTo>
                  <a:pt x="249" y="1016"/>
                </a:lnTo>
                <a:lnTo>
                  <a:pt x="250" y="1017"/>
                </a:lnTo>
                <a:lnTo>
                  <a:pt x="250" y="1017"/>
                </a:lnTo>
                <a:lnTo>
                  <a:pt x="250" y="1019"/>
                </a:lnTo>
                <a:lnTo>
                  <a:pt x="250" y="1019"/>
                </a:lnTo>
                <a:lnTo>
                  <a:pt x="252" y="1019"/>
                </a:lnTo>
                <a:lnTo>
                  <a:pt x="253" y="1019"/>
                </a:lnTo>
                <a:lnTo>
                  <a:pt x="254" y="1019"/>
                </a:lnTo>
                <a:lnTo>
                  <a:pt x="254" y="1017"/>
                </a:lnTo>
                <a:lnTo>
                  <a:pt x="254" y="1016"/>
                </a:lnTo>
                <a:lnTo>
                  <a:pt x="254" y="1015"/>
                </a:lnTo>
                <a:lnTo>
                  <a:pt x="256" y="1013"/>
                </a:lnTo>
                <a:lnTo>
                  <a:pt x="256" y="1013"/>
                </a:lnTo>
                <a:lnTo>
                  <a:pt x="258" y="1012"/>
                </a:lnTo>
                <a:lnTo>
                  <a:pt x="258" y="1013"/>
                </a:lnTo>
                <a:lnTo>
                  <a:pt x="258" y="1015"/>
                </a:lnTo>
                <a:lnTo>
                  <a:pt x="257" y="1015"/>
                </a:lnTo>
                <a:lnTo>
                  <a:pt x="257" y="1016"/>
                </a:lnTo>
                <a:lnTo>
                  <a:pt x="257" y="1017"/>
                </a:lnTo>
                <a:lnTo>
                  <a:pt x="257" y="1019"/>
                </a:lnTo>
                <a:lnTo>
                  <a:pt x="257" y="1020"/>
                </a:lnTo>
                <a:lnTo>
                  <a:pt x="258" y="1020"/>
                </a:lnTo>
                <a:lnTo>
                  <a:pt x="260" y="1020"/>
                </a:lnTo>
                <a:lnTo>
                  <a:pt x="261" y="1019"/>
                </a:lnTo>
                <a:lnTo>
                  <a:pt x="262" y="1019"/>
                </a:lnTo>
                <a:lnTo>
                  <a:pt x="262" y="1020"/>
                </a:lnTo>
                <a:lnTo>
                  <a:pt x="261" y="1020"/>
                </a:lnTo>
                <a:lnTo>
                  <a:pt x="261" y="1020"/>
                </a:lnTo>
                <a:lnTo>
                  <a:pt x="262" y="1021"/>
                </a:lnTo>
                <a:lnTo>
                  <a:pt x="262" y="1021"/>
                </a:lnTo>
                <a:lnTo>
                  <a:pt x="264" y="1020"/>
                </a:lnTo>
                <a:lnTo>
                  <a:pt x="265" y="1020"/>
                </a:lnTo>
                <a:lnTo>
                  <a:pt x="268" y="1017"/>
                </a:lnTo>
                <a:lnTo>
                  <a:pt x="268" y="1017"/>
                </a:lnTo>
                <a:lnTo>
                  <a:pt x="269" y="1017"/>
                </a:lnTo>
                <a:lnTo>
                  <a:pt x="271" y="1017"/>
                </a:lnTo>
                <a:lnTo>
                  <a:pt x="272" y="1019"/>
                </a:lnTo>
                <a:lnTo>
                  <a:pt x="272" y="1019"/>
                </a:lnTo>
                <a:lnTo>
                  <a:pt x="273" y="1019"/>
                </a:lnTo>
                <a:lnTo>
                  <a:pt x="273" y="1019"/>
                </a:lnTo>
                <a:lnTo>
                  <a:pt x="277" y="1020"/>
                </a:lnTo>
                <a:lnTo>
                  <a:pt x="280" y="1020"/>
                </a:lnTo>
                <a:lnTo>
                  <a:pt x="282" y="1020"/>
                </a:lnTo>
                <a:lnTo>
                  <a:pt x="282" y="1019"/>
                </a:lnTo>
                <a:lnTo>
                  <a:pt x="283" y="1019"/>
                </a:lnTo>
                <a:lnTo>
                  <a:pt x="284" y="1019"/>
                </a:lnTo>
                <a:lnTo>
                  <a:pt x="286" y="1019"/>
                </a:lnTo>
                <a:lnTo>
                  <a:pt x="287" y="1019"/>
                </a:lnTo>
                <a:lnTo>
                  <a:pt x="287" y="1019"/>
                </a:lnTo>
                <a:lnTo>
                  <a:pt x="288" y="1019"/>
                </a:lnTo>
                <a:lnTo>
                  <a:pt x="288" y="1017"/>
                </a:lnTo>
                <a:lnTo>
                  <a:pt x="290" y="1019"/>
                </a:lnTo>
                <a:lnTo>
                  <a:pt x="290" y="1020"/>
                </a:lnTo>
                <a:lnTo>
                  <a:pt x="290" y="1020"/>
                </a:lnTo>
                <a:lnTo>
                  <a:pt x="290" y="1021"/>
                </a:lnTo>
                <a:lnTo>
                  <a:pt x="288" y="1023"/>
                </a:lnTo>
                <a:lnTo>
                  <a:pt x="287" y="1021"/>
                </a:lnTo>
                <a:lnTo>
                  <a:pt x="286" y="1021"/>
                </a:lnTo>
                <a:lnTo>
                  <a:pt x="286" y="1020"/>
                </a:lnTo>
                <a:lnTo>
                  <a:pt x="283" y="1021"/>
                </a:lnTo>
                <a:lnTo>
                  <a:pt x="282" y="1021"/>
                </a:lnTo>
                <a:lnTo>
                  <a:pt x="279" y="1026"/>
                </a:lnTo>
                <a:lnTo>
                  <a:pt x="277" y="1024"/>
                </a:lnTo>
                <a:lnTo>
                  <a:pt x="277" y="1024"/>
                </a:lnTo>
                <a:lnTo>
                  <a:pt x="276" y="1024"/>
                </a:lnTo>
                <a:lnTo>
                  <a:pt x="276" y="1024"/>
                </a:lnTo>
                <a:lnTo>
                  <a:pt x="276" y="1024"/>
                </a:lnTo>
                <a:lnTo>
                  <a:pt x="275" y="1024"/>
                </a:lnTo>
                <a:lnTo>
                  <a:pt x="275" y="1024"/>
                </a:lnTo>
                <a:lnTo>
                  <a:pt x="273" y="1023"/>
                </a:lnTo>
                <a:lnTo>
                  <a:pt x="272" y="1023"/>
                </a:lnTo>
                <a:lnTo>
                  <a:pt x="271" y="1023"/>
                </a:lnTo>
                <a:lnTo>
                  <a:pt x="269" y="1023"/>
                </a:lnTo>
                <a:lnTo>
                  <a:pt x="269" y="1023"/>
                </a:lnTo>
                <a:lnTo>
                  <a:pt x="268" y="1024"/>
                </a:lnTo>
                <a:lnTo>
                  <a:pt x="267" y="1026"/>
                </a:lnTo>
                <a:lnTo>
                  <a:pt x="267" y="1027"/>
                </a:lnTo>
                <a:lnTo>
                  <a:pt x="267" y="1028"/>
                </a:lnTo>
                <a:lnTo>
                  <a:pt x="265" y="1030"/>
                </a:lnTo>
                <a:lnTo>
                  <a:pt x="265" y="1030"/>
                </a:lnTo>
                <a:lnTo>
                  <a:pt x="265" y="1031"/>
                </a:lnTo>
                <a:lnTo>
                  <a:pt x="265" y="1032"/>
                </a:lnTo>
                <a:lnTo>
                  <a:pt x="265" y="1032"/>
                </a:lnTo>
                <a:lnTo>
                  <a:pt x="265" y="1034"/>
                </a:lnTo>
                <a:lnTo>
                  <a:pt x="264" y="1036"/>
                </a:lnTo>
                <a:lnTo>
                  <a:pt x="264" y="1038"/>
                </a:lnTo>
                <a:lnTo>
                  <a:pt x="264" y="1038"/>
                </a:lnTo>
                <a:lnTo>
                  <a:pt x="267" y="1041"/>
                </a:lnTo>
                <a:lnTo>
                  <a:pt x="267" y="1042"/>
                </a:lnTo>
                <a:lnTo>
                  <a:pt x="268" y="1042"/>
                </a:lnTo>
                <a:lnTo>
                  <a:pt x="269" y="1041"/>
                </a:lnTo>
                <a:lnTo>
                  <a:pt x="271" y="1039"/>
                </a:lnTo>
                <a:lnTo>
                  <a:pt x="271" y="1039"/>
                </a:lnTo>
                <a:lnTo>
                  <a:pt x="272" y="1038"/>
                </a:lnTo>
                <a:lnTo>
                  <a:pt x="276" y="1038"/>
                </a:lnTo>
                <a:lnTo>
                  <a:pt x="276" y="1038"/>
                </a:lnTo>
                <a:lnTo>
                  <a:pt x="276" y="1038"/>
                </a:lnTo>
                <a:lnTo>
                  <a:pt x="276" y="1036"/>
                </a:lnTo>
                <a:lnTo>
                  <a:pt x="276" y="1036"/>
                </a:lnTo>
                <a:lnTo>
                  <a:pt x="277" y="1036"/>
                </a:lnTo>
                <a:lnTo>
                  <a:pt x="277" y="1036"/>
                </a:lnTo>
                <a:lnTo>
                  <a:pt x="277" y="1036"/>
                </a:lnTo>
                <a:lnTo>
                  <a:pt x="279" y="1036"/>
                </a:lnTo>
                <a:lnTo>
                  <a:pt x="279" y="1036"/>
                </a:lnTo>
                <a:lnTo>
                  <a:pt x="277" y="1036"/>
                </a:lnTo>
                <a:lnTo>
                  <a:pt x="276" y="1038"/>
                </a:lnTo>
                <a:lnTo>
                  <a:pt x="276" y="1039"/>
                </a:lnTo>
                <a:lnTo>
                  <a:pt x="276" y="1041"/>
                </a:lnTo>
                <a:lnTo>
                  <a:pt x="273" y="1039"/>
                </a:lnTo>
                <a:lnTo>
                  <a:pt x="272" y="1041"/>
                </a:lnTo>
                <a:lnTo>
                  <a:pt x="271" y="1041"/>
                </a:lnTo>
                <a:lnTo>
                  <a:pt x="271" y="1043"/>
                </a:lnTo>
                <a:lnTo>
                  <a:pt x="269" y="1045"/>
                </a:lnTo>
                <a:lnTo>
                  <a:pt x="268" y="1046"/>
                </a:lnTo>
                <a:lnTo>
                  <a:pt x="268" y="1046"/>
                </a:lnTo>
                <a:lnTo>
                  <a:pt x="268" y="1050"/>
                </a:lnTo>
                <a:lnTo>
                  <a:pt x="267" y="1051"/>
                </a:lnTo>
                <a:lnTo>
                  <a:pt x="267" y="1054"/>
                </a:lnTo>
                <a:lnTo>
                  <a:pt x="265" y="1055"/>
                </a:lnTo>
                <a:lnTo>
                  <a:pt x="267" y="1057"/>
                </a:lnTo>
                <a:lnTo>
                  <a:pt x="267" y="1057"/>
                </a:lnTo>
                <a:lnTo>
                  <a:pt x="268" y="1057"/>
                </a:lnTo>
                <a:lnTo>
                  <a:pt x="271" y="1057"/>
                </a:lnTo>
                <a:lnTo>
                  <a:pt x="272" y="1057"/>
                </a:lnTo>
                <a:lnTo>
                  <a:pt x="273" y="1057"/>
                </a:lnTo>
                <a:lnTo>
                  <a:pt x="275" y="1057"/>
                </a:lnTo>
                <a:lnTo>
                  <a:pt x="279" y="1055"/>
                </a:lnTo>
                <a:lnTo>
                  <a:pt x="280" y="1057"/>
                </a:lnTo>
                <a:lnTo>
                  <a:pt x="282" y="1057"/>
                </a:lnTo>
                <a:lnTo>
                  <a:pt x="283" y="1057"/>
                </a:lnTo>
                <a:lnTo>
                  <a:pt x="284" y="1055"/>
                </a:lnTo>
                <a:lnTo>
                  <a:pt x="286" y="1055"/>
                </a:lnTo>
                <a:lnTo>
                  <a:pt x="287" y="1055"/>
                </a:lnTo>
                <a:lnTo>
                  <a:pt x="290" y="1057"/>
                </a:lnTo>
                <a:lnTo>
                  <a:pt x="291" y="1055"/>
                </a:lnTo>
                <a:lnTo>
                  <a:pt x="294" y="1054"/>
                </a:lnTo>
                <a:lnTo>
                  <a:pt x="295" y="1054"/>
                </a:lnTo>
                <a:lnTo>
                  <a:pt x="295" y="1054"/>
                </a:lnTo>
                <a:lnTo>
                  <a:pt x="296" y="1053"/>
                </a:lnTo>
                <a:lnTo>
                  <a:pt x="296" y="1053"/>
                </a:lnTo>
                <a:lnTo>
                  <a:pt x="299" y="1053"/>
                </a:lnTo>
                <a:lnTo>
                  <a:pt x="302" y="1051"/>
                </a:lnTo>
                <a:lnTo>
                  <a:pt x="302" y="1051"/>
                </a:lnTo>
                <a:lnTo>
                  <a:pt x="302" y="1051"/>
                </a:lnTo>
                <a:lnTo>
                  <a:pt x="302" y="1053"/>
                </a:lnTo>
                <a:lnTo>
                  <a:pt x="302" y="1053"/>
                </a:lnTo>
                <a:lnTo>
                  <a:pt x="301" y="1053"/>
                </a:lnTo>
                <a:lnTo>
                  <a:pt x="299" y="1053"/>
                </a:lnTo>
                <a:lnTo>
                  <a:pt x="295" y="1055"/>
                </a:lnTo>
                <a:lnTo>
                  <a:pt x="292" y="1057"/>
                </a:lnTo>
                <a:lnTo>
                  <a:pt x="291" y="1058"/>
                </a:lnTo>
                <a:lnTo>
                  <a:pt x="287" y="1060"/>
                </a:lnTo>
                <a:lnTo>
                  <a:pt x="287" y="1060"/>
                </a:lnTo>
                <a:lnTo>
                  <a:pt x="286" y="1060"/>
                </a:lnTo>
                <a:lnTo>
                  <a:pt x="284" y="1058"/>
                </a:lnTo>
                <a:lnTo>
                  <a:pt x="284" y="1058"/>
                </a:lnTo>
                <a:lnTo>
                  <a:pt x="283" y="1060"/>
                </a:lnTo>
                <a:lnTo>
                  <a:pt x="282" y="1062"/>
                </a:lnTo>
                <a:lnTo>
                  <a:pt x="280" y="1062"/>
                </a:lnTo>
                <a:lnTo>
                  <a:pt x="279" y="1064"/>
                </a:lnTo>
                <a:lnTo>
                  <a:pt x="277" y="1065"/>
                </a:lnTo>
                <a:lnTo>
                  <a:pt x="276" y="1065"/>
                </a:lnTo>
                <a:lnTo>
                  <a:pt x="276" y="1065"/>
                </a:lnTo>
                <a:lnTo>
                  <a:pt x="273" y="1068"/>
                </a:lnTo>
                <a:lnTo>
                  <a:pt x="272" y="1068"/>
                </a:lnTo>
                <a:lnTo>
                  <a:pt x="271" y="1069"/>
                </a:lnTo>
                <a:lnTo>
                  <a:pt x="269" y="1072"/>
                </a:lnTo>
                <a:lnTo>
                  <a:pt x="269" y="1073"/>
                </a:lnTo>
                <a:lnTo>
                  <a:pt x="271" y="1073"/>
                </a:lnTo>
                <a:lnTo>
                  <a:pt x="275" y="1070"/>
                </a:lnTo>
                <a:lnTo>
                  <a:pt x="275" y="1070"/>
                </a:lnTo>
                <a:lnTo>
                  <a:pt x="279" y="1069"/>
                </a:lnTo>
                <a:lnTo>
                  <a:pt x="279" y="1069"/>
                </a:lnTo>
                <a:lnTo>
                  <a:pt x="279" y="1070"/>
                </a:lnTo>
                <a:lnTo>
                  <a:pt x="279" y="1070"/>
                </a:lnTo>
                <a:lnTo>
                  <a:pt x="277" y="1070"/>
                </a:lnTo>
                <a:lnTo>
                  <a:pt x="275" y="1072"/>
                </a:lnTo>
                <a:lnTo>
                  <a:pt x="275" y="1073"/>
                </a:lnTo>
                <a:lnTo>
                  <a:pt x="272" y="1075"/>
                </a:lnTo>
                <a:lnTo>
                  <a:pt x="268" y="1075"/>
                </a:lnTo>
                <a:lnTo>
                  <a:pt x="268" y="1076"/>
                </a:lnTo>
                <a:lnTo>
                  <a:pt x="268" y="1076"/>
                </a:lnTo>
                <a:lnTo>
                  <a:pt x="269" y="1077"/>
                </a:lnTo>
                <a:lnTo>
                  <a:pt x="269" y="1077"/>
                </a:lnTo>
                <a:lnTo>
                  <a:pt x="272" y="1076"/>
                </a:lnTo>
                <a:lnTo>
                  <a:pt x="272" y="1076"/>
                </a:lnTo>
                <a:lnTo>
                  <a:pt x="273" y="1077"/>
                </a:lnTo>
                <a:lnTo>
                  <a:pt x="272" y="1077"/>
                </a:lnTo>
                <a:lnTo>
                  <a:pt x="271" y="1077"/>
                </a:lnTo>
                <a:lnTo>
                  <a:pt x="269" y="1077"/>
                </a:lnTo>
                <a:lnTo>
                  <a:pt x="269" y="1079"/>
                </a:lnTo>
                <a:lnTo>
                  <a:pt x="269" y="1079"/>
                </a:lnTo>
                <a:lnTo>
                  <a:pt x="271" y="1080"/>
                </a:lnTo>
                <a:lnTo>
                  <a:pt x="271" y="1083"/>
                </a:lnTo>
                <a:lnTo>
                  <a:pt x="271" y="1083"/>
                </a:lnTo>
                <a:lnTo>
                  <a:pt x="271" y="1084"/>
                </a:lnTo>
                <a:lnTo>
                  <a:pt x="272" y="1084"/>
                </a:lnTo>
                <a:lnTo>
                  <a:pt x="273" y="1083"/>
                </a:lnTo>
                <a:lnTo>
                  <a:pt x="273" y="1084"/>
                </a:lnTo>
                <a:lnTo>
                  <a:pt x="273" y="1084"/>
                </a:lnTo>
                <a:lnTo>
                  <a:pt x="275" y="1085"/>
                </a:lnTo>
                <a:lnTo>
                  <a:pt x="275" y="1085"/>
                </a:lnTo>
                <a:lnTo>
                  <a:pt x="276" y="1085"/>
                </a:lnTo>
                <a:lnTo>
                  <a:pt x="277" y="1087"/>
                </a:lnTo>
                <a:lnTo>
                  <a:pt x="279" y="1087"/>
                </a:lnTo>
                <a:lnTo>
                  <a:pt x="277" y="1087"/>
                </a:lnTo>
                <a:lnTo>
                  <a:pt x="277" y="1088"/>
                </a:lnTo>
                <a:lnTo>
                  <a:pt x="276" y="1088"/>
                </a:lnTo>
                <a:lnTo>
                  <a:pt x="272" y="1091"/>
                </a:lnTo>
                <a:lnTo>
                  <a:pt x="271" y="1092"/>
                </a:lnTo>
                <a:lnTo>
                  <a:pt x="271" y="1094"/>
                </a:lnTo>
                <a:lnTo>
                  <a:pt x="272" y="1095"/>
                </a:lnTo>
                <a:lnTo>
                  <a:pt x="272" y="1095"/>
                </a:lnTo>
                <a:lnTo>
                  <a:pt x="273" y="1094"/>
                </a:lnTo>
                <a:lnTo>
                  <a:pt x="275" y="1094"/>
                </a:lnTo>
                <a:lnTo>
                  <a:pt x="275" y="1094"/>
                </a:lnTo>
                <a:lnTo>
                  <a:pt x="275" y="1092"/>
                </a:lnTo>
                <a:lnTo>
                  <a:pt x="275" y="1091"/>
                </a:lnTo>
                <a:lnTo>
                  <a:pt x="275" y="1091"/>
                </a:lnTo>
                <a:lnTo>
                  <a:pt x="275" y="1091"/>
                </a:lnTo>
                <a:lnTo>
                  <a:pt x="275" y="1089"/>
                </a:lnTo>
                <a:lnTo>
                  <a:pt x="276" y="1089"/>
                </a:lnTo>
                <a:lnTo>
                  <a:pt x="277" y="1089"/>
                </a:lnTo>
                <a:lnTo>
                  <a:pt x="277" y="1091"/>
                </a:lnTo>
                <a:lnTo>
                  <a:pt x="277" y="1092"/>
                </a:lnTo>
                <a:lnTo>
                  <a:pt x="276" y="1094"/>
                </a:lnTo>
                <a:lnTo>
                  <a:pt x="276" y="1095"/>
                </a:lnTo>
                <a:lnTo>
                  <a:pt x="277" y="1095"/>
                </a:lnTo>
                <a:lnTo>
                  <a:pt x="279" y="1094"/>
                </a:lnTo>
                <a:lnTo>
                  <a:pt x="279" y="1094"/>
                </a:lnTo>
                <a:lnTo>
                  <a:pt x="279" y="1092"/>
                </a:lnTo>
                <a:lnTo>
                  <a:pt x="279" y="1092"/>
                </a:lnTo>
                <a:lnTo>
                  <a:pt x="279" y="1092"/>
                </a:lnTo>
                <a:lnTo>
                  <a:pt x="279" y="1092"/>
                </a:lnTo>
                <a:lnTo>
                  <a:pt x="280" y="1094"/>
                </a:lnTo>
                <a:lnTo>
                  <a:pt x="282" y="1092"/>
                </a:lnTo>
                <a:lnTo>
                  <a:pt x="283" y="1092"/>
                </a:lnTo>
                <a:lnTo>
                  <a:pt x="283" y="1092"/>
                </a:lnTo>
                <a:lnTo>
                  <a:pt x="286" y="1098"/>
                </a:lnTo>
                <a:lnTo>
                  <a:pt x="286" y="1098"/>
                </a:lnTo>
                <a:lnTo>
                  <a:pt x="284" y="1098"/>
                </a:lnTo>
                <a:lnTo>
                  <a:pt x="282" y="1098"/>
                </a:lnTo>
                <a:lnTo>
                  <a:pt x="280" y="1098"/>
                </a:lnTo>
                <a:lnTo>
                  <a:pt x="280" y="1099"/>
                </a:lnTo>
                <a:lnTo>
                  <a:pt x="282" y="1099"/>
                </a:lnTo>
                <a:lnTo>
                  <a:pt x="282" y="1099"/>
                </a:lnTo>
                <a:lnTo>
                  <a:pt x="282" y="1099"/>
                </a:lnTo>
                <a:lnTo>
                  <a:pt x="283" y="1100"/>
                </a:lnTo>
                <a:lnTo>
                  <a:pt x="283" y="1100"/>
                </a:lnTo>
                <a:lnTo>
                  <a:pt x="283" y="1100"/>
                </a:lnTo>
                <a:lnTo>
                  <a:pt x="284" y="1102"/>
                </a:lnTo>
                <a:lnTo>
                  <a:pt x="284" y="1102"/>
                </a:lnTo>
                <a:lnTo>
                  <a:pt x="286" y="1102"/>
                </a:lnTo>
                <a:lnTo>
                  <a:pt x="287" y="1102"/>
                </a:lnTo>
                <a:lnTo>
                  <a:pt x="287" y="1102"/>
                </a:lnTo>
                <a:lnTo>
                  <a:pt x="287" y="1103"/>
                </a:lnTo>
                <a:lnTo>
                  <a:pt x="286" y="1103"/>
                </a:lnTo>
                <a:lnTo>
                  <a:pt x="284" y="1104"/>
                </a:lnTo>
                <a:lnTo>
                  <a:pt x="286" y="1107"/>
                </a:lnTo>
                <a:lnTo>
                  <a:pt x="286" y="1107"/>
                </a:lnTo>
                <a:lnTo>
                  <a:pt x="286" y="1110"/>
                </a:lnTo>
                <a:lnTo>
                  <a:pt x="284" y="1110"/>
                </a:lnTo>
                <a:lnTo>
                  <a:pt x="287" y="1109"/>
                </a:lnTo>
                <a:lnTo>
                  <a:pt x="287" y="1109"/>
                </a:lnTo>
                <a:lnTo>
                  <a:pt x="288" y="1109"/>
                </a:lnTo>
                <a:lnTo>
                  <a:pt x="288" y="1109"/>
                </a:lnTo>
                <a:lnTo>
                  <a:pt x="287" y="1110"/>
                </a:lnTo>
                <a:lnTo>
                  <a:pt x="287" y="1111"/>
                </a:lnTo>
                <a:lnTo>
                  <a:pt x="287" y="1113"/>
                </a:lnTo>
                <a:lnTo>
                  <a:pt x="288" y="1113"/>
                </a:lnTo>
                <a:lnTo>
                  <a:pt x="290" y="1111"/>
                </a:lnTo>
                <a:lnTo>
                  <a:pt x="290" y="1113"/>
                </a:lnTo>
                <a:lnTo>
                  <a:pt x="290" y="1113"/>
                </a:lnTo>
                <a:lnTo>
                  <a:pt x="290" y="1113"/>
                </a:lnTo>
                <a:lnTo>
                  <a:pt x="290" y="1114"/>
                </a:lnTo>
                <a:lnTo>
                  <a:pt x="290" y="1114"/>
                </a:lnTo>
                <a:lnTo>
                  <a:pt x="291" y="1114"/>
                </a:lnTo>
                <a:lnTo>
                  <a:pt x="291" y="1115"/>
                </a:lnTo>
                <a:lnTo>
                  <a:pt x="291" y="1115"/>
                </a:lnTo>
                <a:lnTo>
                  <a:pt x="291" y="1115"/>
                </a:lnTo>
                <a:lnTo>
                  <a:pt x="288" y="1117"/>
                </a:lnTo>
                <a:lnTo>
                  <a:pt x="288" y="1118"/>
                </a:lnTo>
                <a:lnTo>
                  <a:pt x="288" y="1119"/>
                </a:lnTo>
                <a:lnTo>
                  <a:pt x="288" y="1122"/>
                </a:lnTo>
                <a:lnTo>
                  <a:pt x="288" y="1123"/>
                </a:lnTo>
                <a:lnTo>
                  <a:pt x="287" y="1123"/>
                </a:lnTo>
                <a:lnTo>
                  <a:pt x="287" y="1125"/>
                </a:lnTo>
                <a:lnTo>
                  <a:pt x="287" y="1125"/>
                </a:lnTo>
                <a:lnTo>
                  <a:pt x="288" y="1126"/>
                </a:lnTo>
                <a:lnTo>
                  <a:pt x="288" y="1128"/>
                </a:lnTo>
                <a:lnTo>
                  <a:pt x="288" y="1129"/>
                </a:lnTo>
                <a:lnTo>
                  <a:pt x="287" y="1130"/>
                </a:lnTo>
                <a:lnTo>
                  <a:pt x="287" y="1132"/>
                </a:lnTo>
                <a:lnTo>
                  <a:pt x="286" y="1134"/>
                </a:lnTo>
                <a:lnTo>
                  <a:pt x="284" y="1134"/>
                </a:lnTo>
                <a:lnTo>
                  <a:pt x="284" y="1136"/>
                </a:lnTo>
                <a:lnTo>
                  <a:pt x="284" y="1137"/>
                </a:lnTo>
                <a:lnTo>
                  <a:pt x="283" y="1140"/>
                </a:lnTo>
                <a:lnTo>
                  <a:pt x="283" y="1140"/>
                </a:lnTo>
                <a:lnTo>
                  <a:pt x="283" y="1140"/>
                </a:lnTo>
                <a:lnTo>
                  <a:pt x="283" y="1140"/>
                </a:lnTo>
                <a:lnTo>
                  <a:pt x="282" y="1141"/>
                </a:lnTo>
                <a:lnTo>
                  <a:pt x="282" y="1141"/>
                </a:lnTo>
                <a:lnTo>
                  <a:pt x="282" y="1141"/>
                </a:lnTo>
                <a:lnTo>
                  <a:pt x="282" y="1143"/>
                </a:lnTo>
                <a:lnTo>
                  <a:pt x="280" y="1144"/>
                </a:lnTo>
                <a:lnTo>
                  <a:pt x="280" y="1145"/>
                </a:lnTo>
                <a:lnTo>
                  <a:pt x="279" y="1145"/>
                </a:lnTo>
                <a:lnTo>
                  <a:pt x="279" y="1148"/>
                </a:lnTo>
                <a:lnTo>
                  <a:pt x="279" y="1148"/>
                </a:lnTo>
                <a:lnTo>
                  <a:pt x="279" y="1149"/>
                </a:lnTo>
                <a:lnTo>
                  <a:pt x="279" y="1149"/>
                </a:lnTo>
                <a:lnTo>
                  <a:pt x="279" y="1149"/>
                </a:lnTo>
                <a:lnTo>
                  <a:pt x="279" y="1149"/>
                </a:lnTo>
                <a:lnTo>
                  <a:pt x="280" y="1149"/>
                </a:lnTo>
                <a:lnTo>
                  <a:pt x="279" y="1151"/>
                </a:lnTo>
                <a:lnTo>
                  <a:pt x="279" y="1152"/>
                </a:lnTo>
                <a:lnTo>
                  <a:pt x="279" y="1152"/>
                </a:lnTo>
                <a:lnTo>
                  <a:pt x="277" y="1155"/>
                </a:lnTo>
                <a:lnTo>
                  <a:pt x="277" y="1159"/>
                </a:lnTo>
                <a:lnTo>
                  <a:pt x="276" y="1159"/>
                </a:lnTo>
                <a:lnTo>
                  <a:pt x="276" y="1159"/>
                </a:lnTo>
                <a:lnTo>
                  <a:pt x="276" y="1163"/>
                </a:lnTo>
                <a:lnTo>
                  <a:pt x="276" y="1164"/>
                </a:lnTo>
                <a:lnTo>
                  <a:pt x="276" y="1164"/>
                </a:lnTo>
                <a:lnTo>
                  <a:pt x="275" y="1166"/>
                </a:lnTo>
                <a:lnTo>
                  <a:pt x="275" y="1167"/>
                </a:lnTo>
                <a:lnTo>
                  <a:pt x="275" y="1167"/>
                </a:lnTo>
                <a:lnTo>
                  <a:pt x="273" y="1167"/>
                </a:lnTo>
                <a:lnTo>
                  <a:pt x="275" y="1168"/>
                </a:lnTo>
                <a:lnTo>
                  <a:pt x="273" y="1171"/>
                </a:lnTo>
                <a:lnTo>
                  <a:pt x="273" y="1172"/>
                </a:lnTo>
                <a:lnTo>
                  <a:pt x="273" y="1172"/>
                </a:lnTo>
                <a:lnTo>
                  <a:pt x="273" y="1174"/>
                </a:lnTo>
                <a:lnTo>
                  <a:pt x="275" y="1175"/>
                </a:lnTo>
                <a:lnTo>
                  <a:pt x="275" y="1177"/>
                </a:lnTo>
                <a:lnTo>
                  <a:pt x="275" y="1179"/>
                </a:lnTo>
                <a:lnTo>
                  <a:pt x="275" y="1179"/>
                </a:lnTo>
                <a:lnTo>
                  <a:pt x="276" y="1179"/>
                </a:lnTo>
                <a:lnTo>
                  <a:pt x="277" y="1177"/>
                </a:lnTo>
                <a:lnTo>
                  <a:pt x="279" y="1178"/>
                </a:lnTo>
                <a:lnTo>
                  <a:pt x="279" y="1178"/>
                </a:lnTo>
                <a:lnTo>
                  <a:pt x="279" y="1179"/>
                </a:lnTo>
                <a:lnTo>
                  <a:pt x="277" y="1179"/>
                </a:lnTo>
                <a:lnTo>
                  <a:pt x="277" y="1179"/>
                </a:lnTo>
                <a:lnTo>
                  <a:pt x="277" y="1179"/>
                </a:lnTo>
                <a:lnTo>
                  <a:pt x="277" y="1179"/>
                </a:lnTo>
                <a:lnTo>
                  <a:pt x="277" y="1181"/>
                </a:lnTo>
                <a:lnTo>
                  <a:pt x="277" y="1182"/>
                </a:lnTo>
                <a:lnTo>
                  <a:pt x="277" y="1182"/>
                </a:lnTo>
                <a:lnTo>
                  <a:pt x="276" y="1183"/>
                </a:lnTo>
                <a:lnTo>
                  <a:pt x="276" y="1182"/>
                </a:lnTo>
                <a:lnTo>
                  <a:pt x="276" y="1182"/>
                </a:lnTo>
                <a:lnTo>
                  <a:pt x="276" y="1182"/>
                </a:lnTo>
                <a:lnTo>
                  <a:pt x="275" y="1181"/>
                </a:lnTo>
                <a:lnTo>
                  <a:pt x="276" y="1186"/>
                </a:lnTo>
                <a:lnTo>
                  <a:pt x="277" y="1189"/>
                </a:lnTo>
                <a:lnTo>
                  <a:pt x="277" y="1190"/>
                </a:lnTo>
                <a:lnTo>
                  <a:pt x="277" y="1193"/>
                </a:lnTo>
                <a:lnTo>
                  <a:pt x="279" y="1194"/>
                </a:lnTo>
                <a:lnTo>
                  <a:pt x="279" y="1194"/>
                </a:lnTo>
                <a:lnTo>
                  <a:pt x="280" y="1194"/>
                </a:lnTo>
                <a:lnTo>
                  <a:pt x="279" y="1194"/>
                </a:lnTo>
                <a:lnTo>
                  <a:pt x="279" y="1193"/>
                </a:lnTo>
                <a:lnTo>
                  <a:pt x="279" y="1193"/>
                </a:lnTo>
                <a:lnTo>
                  <a:pt x="279" y="1191"/>
                </a:lnTo>
                <a:lnTo>
                  <a:pt x="279" y="1191"/>
                </a:lnTo>
                <a:lnTo>
                  <a:pt x="279" y="1191"/>
                </a:lnTo>
                <a:lnTo>
                  <a:pt x="279" y="1190"/>
                </a:lnTo>
                <a:lnTo>
                  <a:pt x="279" y="1190"/>
                </a:lnTo>
                <a:lnTo>
                  <a:pt x="280" y="1190"/>
                </a:lnTo>
                <a:lnTo>
                  <a:pt x="280" y="1191"/>
                </a:lnTo>
                <a:lnTo>
                  <a:pt x="280" y="1191"/>
                </a:lnTo>
                <a:lnTo>
                  <a:pt x="280" y="1193"/>
                </a:lnTo>
                <a:lnTo>
                  <a:pt x="282" y="1193"/>
                </a:lnTo>
                <a:lnTo>
                  <a:pt x="282" y="1193"/>
                </a:lnTo>
                <a:lnTo>
                  <a:pt x="282" y="1194"/>
                </a:lnTo>
                <a:lnTo>
                  <a:pt x="283" y="1193"/>
                </a:lnTo>
                <a:lnTo>
                  <a:pt x="284" y="1193"/>
                </a:lnTo>
                <a:lnTo>
                  <a:pt x="286" y="1193"/>
                </a:lnTo>
                <a:lnTo>
                  <a:pt x="287" y="1193"/>
                </a:lnTo>
                <a:lnTo>
                  <a:pt x="280" y="1196"/>
                </a:lnTo>
                <a:lnTo>
                  <a:pt x="279" y="1197"/>
                </a:lnTo>
                <a:lnTo>
                  <a:pt x="279" y="1197"/>
                </a:lnTo>
                <a:lnTo>
                  <a:pt x="279" y="1198"/>
                </a:lnTo>
                <a:lnTo>
                  <a:pt x="280" y="1202"/>
                </a:lnTo>
                <a:lnTo>
                  <a:pt x="280" y="1202"/>
                </a:lnTo>
                <a:lnTo>
                  <a:pt x="282" y="1205"/>
                </a:lnTo>
                <a:lnTo>
                  <a:pt x="283" y="1206"/>
                </a:lnTo>
                <a:lnTo>
                  <a:pt x="283" y="1206"/>
                </a:lnTo>
                <a:lnTo>
                  <a:pt x="284" y="1205"/>
                </a:lnTo>
                <a:lnTo>
                  <a:pt x="286" y="1205"/>
                </a:lnTo>
                <a:lnTo>
                  <a:pt x="287" y="1206"/>
                </a:lnTo>
                <a:lnTo>
                  <a:pt x="288" y="1208"/>
                </a:lnTo>
                <a:lnTo>
                  <a:pt x="290" y="1208"/>
                </a:lnTo>
                <a:lnTo>
                  <a:pt x="292" y="1208"/>
                </a:lnTo>
                <a:lnTo>
                  <a:pt x="294" y="1208"/>
                </a:lnTo>
                <a:lnTo>
                  <a:pt x="294" y="1209"/>
                </a:lnTo>
                <a:lnTo>
                  <a:pt x="295" y="1209"/>
                </a:lnTo>
                <a:lnTo>
                  <a:pt x="295" y="1211"/>
                </a:lnTo>
                <a:lnTo>
                  <a:pt x="296" y="1211"/>
                </a:lnTo>
                <a:lnTo>
                  <a:pt x="296" y="1212"/>
                </a:lnTo>
                <a:lnTo>
                  <a:pt x="296" y="1212"/>
                </a:lnTo>
                <a:lnTo>
                  <a:pt x="298" y="1213"/>
                </a:lnTo>
                <a:lnTo>
                  <a:pt x="296" y="1213"/>
                </a:lnTo>
                <a:lnTo>
                  <a:pt x="295" y="1213"/>
                </a:lnTo>
                <a:lnTo>
                  <a:pt x="294" y="1209"/>
                </a:lnTo>
                <a:lnTo>
                  <a:pt x="292" y="1208"/>
                </a:lnTo>
                <a:lnTo>
                  <a:pt x="292" y="1208"/>
                </a:lnTo>
                <a:lnTo>
                  <a:pt x="291" y="1209"/>
                </a:lnTo>
                <a:lnTo>
                  <a:pt x="290" y="1209"/>
                </a:lnTo>
                <a:lnTo>
                  <a:pt x="288" y="1209"/>
                </a:lnTo>
                <a:lnTo>
                  <a:pt x="287" y="1208"/>
                </a:lnTo>
                <a:lnTo>
                  <a:pt x="286" y="1206"/>
                </a:lnTo>
                <a:lnTo>
                  <a:pt x="284" y="1206"/>
                </a:lnTo>
                <a:lnTo>
                  <a:pt x="282" y="1206"/>
                </a:lnTo>
                <a:lnTo>
                  <a:pt x="280" y="1208"/>
                </a:lnTo>
                <a:lnTo>
                  <a:pt x="280" y="1211"/>
                </a:lnTo>
                <a:lnTo>
                  <a:pt x="280" y="1215"/>
                </a:lnTo>
                <a:lnTo>
                  <a:pt x="282" y="1213"/>
                </a:lnTo>
                <a:lnTo>
                  <a:pt x="283" y="1212"/>
                </a:lnTo>
                <a:lnTo>
                  <a:pt x="283" y="1211"/>
                </a:lnTo>
                <a:lnTo>
                  <a:pt x="284" y="1211"/>
                </a:lnTo>
                <a:lnTo>
                  <a:pt x="283" y="1212"/>
                </a:lnTo>
                <a:lnTo>
                  <a:pt x="283" y="1213"/>
                </a:lnTo>
                <a:lnTo>
                  <a:pt x="282" y="1216"/>
                </a:lnTo>
                <a:lnTo>
                  <a:pt x="282" y="1217"/>
                </a:lnTo>
                <a:lnTo>
                  <a:pt x="282" y="1217"/>
                </a:lnTo>
                <a:lnTo>
                  <a:pt x="282" y="1217"/>
                </a:lnTo>
                <a:lnTo>
                  <a:pt x="282" y="1217"/>
                </a:lnTo>
                <a:lnTo>
                  <a:pt x="283" y="1216"/>
                </a:lnTo>
                <a:lnTo>
                  <a:pt x="283" y="1216"/>
                </a:lnTo>
                <a:lnTo>
                  <a:pt x="283" y="1216"/>
                </a:lnTo>
                <a:lnTo>
                  <a:pt x="284" y="1216"/>
                </a:lnTo>
                <a:lnTo>
                  <a:pt x="284" y="1216"/>
                </a:lnTo>
                <a:lnTo>
                  <a:pt x="283" y="1217"/>
                </a:lnTo>
                <a:lnTo>
                  <a:pt x="283" y="1217"/>
                </a:lnTo>
                <a:lnTo>
                  <a:pt x="283" y="1219"/>
                </a:lnTo>
                <a:lnTo>
                  <a:pt x="283" y="1219"/>
                </a:lnTo>
                <a:lnTo>
                  <a:pt x="284" y="1220"/>
                </a:lnTo>
                <a:lnTo>
                  <a:pt x="283" y="1221"/>
                </a:lnTo>
                <a:lnTo>
                  <a:pt x="283" y="1223"/>
                </a:lnTo>
                <a:lnTo>
                  <a:pt x="283" y="1223"/>
                </a:lnTo>
                <a:lnTo>
                  <a:pt x="284" y="1224"/>
                </a:lnTo>
                <a:lnTo>
                  <a:pt x="283" y="1224"/>
                </a:lnTo>
                <a:lnTo>
                  <a:pt x="283" y="1224"/>
                </a:lnTo>
                <a:lnTo>
                  <a:pt x="283" y="1224"/>
                </a:lnTo>
                <a:lnTo>
                  <a:pt x="283" y="1224"/>
                </a:lnTo>
                <a:lnTo>
                  <a:pt x="283" y="1225"/>
                </a:lnTo>
                <a:lnTo>
                  <a:pt x="283" y="1227"/>
                </a:lnTo>
                <a:lnTo>
                  <a:pt x="282" y="1228"/>
                </a:lnTo>
                <a:lnTo>
                  <a:pt x="280" y="1230"/>
                </a:lnTo>
                <a:lnTo>
                  <a:pt x="280" y="1230"/>
                </a:lnTo>
                <a:lnTo>
                  <a:pt x="280" y="1231"/>
                </a:lnTo>
                <a:lnTo>
                  <a:pt x="282" y="1230"/>
                </a:lnTo>
                <a:lnTo>
                  <a:pt x="282" y="1230"/>
                </a:lnTo>
                <a:lnTo>
                  <a:pt x="282" y="1230"/>
                </a:lnTo>
                <a:lnTo>
                  <a:pt x="283" y="1230"/>
                </a:lnTo>
                <a:lnTo>
                  <a:pt x="283" y="1231"/>
                </a:lnTo>
                <a:lnTo>
                  <a:pt x="283" y="1231"/>
                </a:lnTo>
                <a:lnTo>
                  <a:pt x="283" y="1232"/>
                </a:lnTo>
                <a:lnTo>
                  <a:pt x="283" y="1232"/>
                </a:lnTo>
                <a:lnTo>
                  <a:pt x="283" y="1234"/>
                </a:lnTo>
                <a:lnTo>
                  <a:pt x="283" y="1232"/>
                </a:lnTo>
                <a:lnTo>
                  <a:pt x="284" y="1232"/>
                </a:lnTo>
                <a:lnTo>
                  <a:pt x="284" y="1230"/>
                </a:lnTo>
                <a:lnTo>
                  <a:pt x="286" y="1228"/>
                </a:lnTo>
                <a:lnTo>
                  <a:pt x="287" y="1225"/>
                </a:lnTo>
                <a:lnTo>
                  <a:pt x="287" y="1225"/>
                </a:lnTo>
                <a:lnTo>
                  <a:pt x="288" y="1227"/>
                </a:lnTo>
                <a:lnTo>
                  <a:pt x="288" y="1227"/>
                </a:lnTo>
                <a:lnTo>
                  <a:pt x="290" y="1224"/>
                </a:lnTo>
                <a:lnTo>
                  <a:pt x="291" y="1223"/>
                </a:lnTo>
                <a:lnTo>
                  <a:pt x="290" y="1223"/>
                </a:lnTo>
                <a:lnTo>
                  <a:pt x="290" y="1221"/>
                </a:lnTo>
                <a:lnTo>
                  <a:pt x="291" y="1220"/>
                </a:lnTo>
                <a:lnTo>
                  <a:pt x="291" y="1219"/>
                </a:lnTo>
                <a:lnTo>
                  <a:pt x="292" y="1216"/>
                </a:lnTo>
                <a:lnTo>
                  <a:pt x="292" y="1216"/>
                </a:lnTo>
                <a:lnTo>
                  <a:pt x="292" y="1221"/>
                </a:lnTo>
                <a:lnTo>
                  <a:pt x="292" y="1221"/>
                </a:lnTo>
                <a:lnTo>
                  <a:pt x="294" y="1223"/>
                </a:lnTo>
                <a:lnTo>
                  <a:pt x="294" y="1223"/>
                </a:lnTo>
                <a:lnTo>
                  <a:pt x="294" y="1224"/>
                </a:lnTo>
                <a:lnTo>
                  <a:pt x="294" y="1224"/>
                </a:lnTo>
                <a:lnTo>
                  <a:pt x="294" y="1227"/>
                </a:lnTo>
                <a:lnTo>
                  <a:pt x="294" y="1227"/>
                </a:lnTo>
                <a:lnTo>
                  <a:pt x="295" y="1227"/>
                </a:lnTo>
                <a:lnTo>
                  <a:pt x="296" y="1225"/>
                </a:lnTo>
                <a:lnTo>
                  <a:pt x="298" y="1225"/>
                </a:lnTo>
                <a:lnTo>
                  <a:pt x="296" y="1227"/>
                </a:lnTo>
                <a:lnTo>
                  <a:pt x="296" y="1227"/>
                </a:lnTo>
                <a:lnTo>
                  <a:pt x="294" y="1228"/>
                </a:lnTo>
                <a:lnTo>
                  <a:pt x="292" y="1228"/>
                </a:lnTo>
                <a:lnTo>
                  <a:pt x="291" y="1228"/>
                </a:lnTo>
                <a:lnTo>
                  <a:pt x="291" y="1230"/>
                </a:lnTo>
                <a:lnTo>
                  <a:pt x="294" y="1230"/>
                </a:lnTo>
                <a:lnTo>
                  <a:pt x="292" y="1230"/>
                </a:lnTo>
                <a:lnTo>
                  <a:pt x="292" y="1230"/>
                </a:lnTo>
                <a:lnTo>
                  <a:pt x="291" y="1230"/>
                </a:lnTo>
                <a:lnTo>
                  <a:pt x="291" y="1230"/>
                </a:lnTo>
                <a:lnTo>
                  <a:pt x="291" y="1232"/>
                </a:lnTo>
                <a:lnTo>
                  <a:pt x="290" y="1232"/>
                </a:lnTo>
                <a:lnTo>
                  <a:pt x="290" y="1232"/>
                </a:lnTo>
                <a:lnTo>
                  <a:pt x="288" y="1234"/>
                </a:lnTo>
                <a:lnTo>
                  <a:pt x="290" y="1235"/>
                </a:lnTo>
                <a:lnTo>
                  <a:pt x="291" y="1236"/>
                </a:lnTo>
                <a:lnTo>
                  <a:pt x="292" y="1235"/>
                </a:lnTo>
                <a:lnTo>
                  <a:pt x="292" y="1235"/>
                </a:lnTo>
                <a:lnTo>
                  <a:pt x="292" y="1235"/>
                </a:lnTo>
                <a:lnTo>
                  <a:pt x="292" y="1235"/>
                </a:lnTo>
                <a:lnTo>
                  <a:pt x="292" y="1235"/>
                </a:lnTo>
                <a:lnTo>
                  <a:pt x="294" y="1235"/>
                </a:lnTo>
                <a:lnTo>
                  <a:pt x="294" y="1235"/>
                </a:lnTo>
                <a:lnTo>
                  <a:pt x="292" y="1236"/>
                </a:lnTo>
                <a:lnTo>
                  <a:pt x="292" y="1236"/>
                </a:lnTo>
                <a:lnTo>
                  <a:pt x="294" y="1238"/>
                </a:lnTo>
                <a:lnTo>
                  <a:pt x="294" y="1238"/>
                </a:lnTo>
                <a:lnTo>
                  <a:pt x="295" y="1239"/>
                </a:lnTo>
                <a:lnTo>
                  <a:pt x="295" y="1239"/>
                </a:lnTo>
                <a:lnTo>
                  <a:pt x="294" y="1240"/>
                </a:lnTo>
                <a:lnTo>
                  <a:pt x="294" y="1242"/>
                </a:lnTo>
                <a:lnTo>
                  <a:pt x="294" y="1243"/>
                </a:lnTo>
                <a:lnTo>
                  <a:pt x="294" y="1243"/>
                </a:lnTo>
                <a:lnTo>
                  <a:pt x="292" y="1243"/>
                </a:lnTo>
                <a:lnTo>
                  <a:pt x="292" y="1242"/>
                </a:lnTo>
                <a:lnTo>
                  <a:pt x="292" y="1240"/>
                </a:lnTo>
                <a:lnTo>
                  <a:pt x="291" y="1238"/>
                </a:lnTo>
                <a:lnTo>
                  <a:pt x="290" y="1238"/>
                </a:lnTo>
                <a:lnTo>
                  <a:pt x="290" y="1239"/>
                </a:lnTo>
                <a:lnTo>
                  <a:pt x="288" y="1239"/>
                </a:lnTo>
                <a:lnTo>
                  <a:pt x="287" y="1239"/>
                </a:lnTo>
                <a:lnTo>
                  <a:pt x="287" y="1239"/>
                </a:lnTo>
                <a:lnTo>
                  <a:pt x="286" y="1239"/>
                </a:lnTo>
                <a:lnTo>
                  <a:pt x="286" y="1240"/>
                </a:lnTo>
                <a:lnTo>
                  <a:pt x="286" y="1242"/>
                </a:lnTo>
                <a:lnTo>
                  <a:pt x="286" y="1245"/>
                </a:lnTo>
                <a:lnTo>
                  <a:pt x="286" y="1247"/>
                </a:lnTo>
                <a:lnTo>
                  <a:pt x="286" y="1249"/>
                </a:lnTo>
                <a:lnTo>
                  <a:pt x="287" y="1250"/>
                </a:lnTo>
                <a:lnTo>
                  <a:pt x="288" y="1254"/>
                </a:lnTo>
                <a:lnTo>
                  <a:pt x="288" y="1254"/>
                </a:lnTo>
                <a:lnTo>
                  <a:pt x="290" y="1255"/>
                </a:lnTo>
                <a:lnTo>
                  <a:pt x="291" y="1254"/>
                </a:lnTo>
                <a:lnTo>
                  <a:pt x="292" y="1255"/>
                </a:lnTo>
                <a:lnTo>
                  <a:pt x="292" y="1255"/>
                </a:lnTo>
                <a:lnTo>
                  <a:pt x="292" y="1257"/>
                </a:lnTo>
                <a:lnTo>
                  <a:pt x="294" y="1258"/>
                </a:lnTo>
                <a:lnTo>
                  <a:pt x="294" y="1259"/>
                </a:lnTo>
                <a:lnTo>
                  <a:pt x="295" y="1259"/>
                </a:lnTo>
                <a:lnTo>
                  <a:pt x="295" y="1261"/>
                </a:lnTo>
                <a:lnTo>
                  <a:pt x="295" y="1261"/>
                </a:lnTo>
                <a:lnTo>
                  <a:pt x="294" y="1261"/>
                </a:lnTo>
                <a:lnTo>
                  <a:pt x="292" y="1257"/>
                </a:lnTo>
                <a:lnTo>
                  <a:pt x="291" y="1257"/>
                </a:lnTo>
                <a:lnTo>
                  <a:pt x="290" y="1255"/>
                </a:lnTo>
                <a:lnTo>
                  <a:pt x="288" y="1257"/>
                </a:lnTo>
                <a:lnTo>
                  <a:pt x="288" y="1258"/>
                </a:lnTo>
                <a:lnTo>
                  <a:pt x="288" y="1259"/>
                </a:lnTo>
                <a:lnTo>
                  <a:pt x="287" y="1262"/>
                </a:lnTo>
                <a:lnTo>
                  <a:pt x="288" y="1262"/>
                </a:lnTo>
                <a:lnTo>
                  <a:pt x="288" y="1264"/>
                </a:lnTo>
                <a:lnTo>
                  <a:pt x="288" y="1264"/>
                </a:lnTo>
                <a:lnTo>
                  <a:pt x="288" y="1265"/>
                </a:lnTo>
                <a:lnTo>
                  <a:pt x="290" y="1265"/>
                </a:lnTo>
                <a:lnTo>
                  <a:pt x="288" y="1266"/>
                </a:lnTo>
                <a:lnTo>
                  <a:pt x="288" y="1266"/>
                </a:lnTo>
                <a:lnTo>
                  <a:pt x="288" y="1266"/>
                </a:lnTo>
                <a:lnTo>
                  <a:pt x="290" y="1268"/>
                </a:lnTo>
                <a:lnTo>
                  <a:pt x="290" y="1268"/>
                </a:lnTo>
                <a:lnTo>
                  <a:pt x="290" y="1268"/>
                </a:lnTo>
                <a:lnTo>
                  <a:pt x="290" y="1268"/>
                </a:lnTo>
                <a:lnTo>
                  <a:pt x="290" y="1268"/>
                </a:lnTo>
                <a:lnTo>
                  <a:pt x="291" y="1269"/>
                </a:lnTo>
                <a:lnTo>
                  <a:pt x="292" y="1269"/>
                </a:lnTo>
                <a:lnTo>
                  <a:pt x="292" y="1269"/>
                </a:lnTo>
                <a:lnTo>
                  <a:pt x="292" y="1270"/>
                </a:lnTo>
                <a:lnTo>
                  <a:pt x="292" y="1272"/>
                </a:lnTo>
                <a:lnTo>
                  <a:pt x="294" y="1272"/>
                </a:lnTo>
                <a:lnTo>
                  <a:pt x="295" y="1272"/>
                </a:lnTo>
                <a:lnTo>
                  <a:pt x="296" y="1272"/>
                </a:lnTo>
                <a:lnTo>
                  <a:pt x="298" y="1272"/>
                </a:lnTo>
                <a:lnTo>
                  <a:pt x="299" y="1273"/>
                </a:lnTo>
                <a:lnTo>
                  <a:pt x="298" y="1273"/>
                </a:lnTo>
                <a:lnTo>
                  <a:pt x="299" y="1276"/>
                </a:lnTo>
                <a:lnTo>
                  <a:pt x="299" y="1277"/>
                </a:lnTo>
                <a:lnTo>
                  <a:pt x="298" y="1279"/>
                </a:lnTo>
                <a:lnTo>
                  <a:pt x="298" y="1279"/>
                </a:lnTo>
                <a:lnTo>
                  <a:pt x="298" y="1277"/>
                </a:lnTo>
                <a:lnTo>
                  <a:pt x="298" y="1277"/>
                </a:lnTo>
                <a:lnTo>
                  <a:pt x="298" y="1276"/>
                </a:lnTo>
                <a:lnTo>
                  <a:pt x="296" y="1274"/>
                </a:lnTo>
                <a:lnTo>
                  <a:pt x="295" y="1274"/>
                </a:lnTo>
                <a:lnTo>
                  <a:pt x="294" y="1274"/>
                </a:lnTo>
                <a:lnTo>
                  <a:pt x="294" y="1274"/>
                </a:lnTo>
                <a:lnTo>
                  <a:pt x="292" y="1274"/>
                </a:lnTo>
                <a:lnTo>
                  <a:pt x="292" y="1274"/>
                </a:lnTo>
                <a:lnTo>
                  <a:pt x="292" y="1273"/>
                </a:lnTo>
                <a:lnTo>
                  <a:pt x="292" y="1273"/>
                </a:lnTo>
                <a:lnTo>
                  <a:pt x="292" y="1273"/>
                </a:lnTo>
                <a:lnTo>
                  <a:pt x="291" y="1272"/>
                </a:lnTo>
                <a:lnTo>
                  <a:pt x="291" y="1272"/>
                </a:lnTo>
                <a:lnTo>
                  <a:pt x="291" y="1272"/>
                </a:lnTo>
                <a:lnTo>
                  <a:pt x="290" y="1273"/>
                </a:lnTo>
                <a:lnTo>
                  <a:pt x="291" y="1273"/>
                </a:lnTo>
                <a:lnTo>
                  <a:pt x="291" y="1274"/>
                </a:lnTo>
                <a:lnTo>
                  <a:pt x="291" y="1274"/>
                </a:lnTo>
                <a:lnTo>
                  <a:pt x="290" y="1276"/>
                </a:lnTo>
                <a:lnTo>
                  <a:pt x="291" y="1276"/>
                </a:lnTo>
                <a:lnTo>
                  <a:pt x="292" y="1277"/>
                </a:lnTo>
                <a:lnTo>
                  <a:pt x="292" y="1283"/>
                </a:lnTo>
                <a:lnTo>
                  <a:pt x="292" y="1283"/>
                </a:lnTo>
                <a:lnTo>
                  <a:pt x="294" y="1283"/>
                </a:lnTo>
                <a:lnTo>
                  <a:pt x="294" y="1284"/>
                </a:lnTo>
                <a:lnTo>
                  <a:pt x="294" y="1284"/>
                </a:lnTo>
                <a:lnTo>
                  <a:pt x="294" y="1284"/>
                </a:lnTo>
                <a:lnTo>
                  <a:pt x="294" y="1285"/>
                </a:lnTo>
                <a:lnTo>
                  <a:pt x="294" y="1285"/>
                </a:lnTo>
                <a:lnTo>
                  <a:pt x="294" y="1287"/>
                </a:lnTo>
                <a:lnTo>
                  <a:pt x="295" y="1287"/>
                </a:lnTo>
                <a:lnTo>
                  <a:pt x="295" y="1287"/>
                </a:lnTo>
                <a:lnTo>
                  <a:pt x="295" y="1287"/>
                </a:lnTo>
                <a:lnTo>
                  <a:pt x="296" y="1285"/>
                </a:lnTo>
                <a:lnTo>
                  <a:pt x="296" y="1285"/>
                </a:lnTo>
                <a:lnTo>
                  <a:pt x="296" y="1287"/>
                </a:lnTo>
                <a:lnTo>
                  <a:pt x="296" y="1287"/>
                </a:lnTo>
                <a:lnTo>
                  <a:pt x="295" y="1288"/>
                </a:lnTo>
                <a:lnTo>
                  <a:pt x="295" y="1288"/>
                </a:lnTo>
                <a:lnTo>
                  <a:pt x="295" y="1289"/>
                </a:lnTo>
                <a:lnTo>
                  <a:pt x="295" y="1289"/>
                </a:lnTo>
                <a:lnTo>
                  <a:pt x="295" y="1291"/>
                </a:lnTo>
                <a:lnTo>
                  <a:pt x="296" y="1291"/>
                </a:lnTo>
                <a:lnTo>
                  <a:pt x="295" y="1291"/>
                </a:lnTo>
                <a:lnTo>
                  <a:pt x="295" y="1292"/>
                </a:lnTo>
                <a:lnTo>
                  <a:pt x="298" y="1298"/>
                </a:lnTo>
                <a:lnTo>
                  <a:pt x="299" y="1299"/>
                </a:lnTo>
                <a:lnTo>
                  <a:pt x="299" y="1300"/>
                </a:lnTo>
                <a:lnTo>
                  <a:pt x="299" y="1302"/>
                </a:lnTo>
                <a:lnTo>
                  <a:pt x="301" y="1303"/>
                </a:lnTo>
                <a:lnTo>
                  <a:pt x="301" y="1303"/>
                </a:lnTo>
                <a:lnTo>
                  <a:pt x="301" y="1304"/>
                </a:lnTo>
                <a:lnTo>
                  <a:pt x="302" y="1306"/>
                </a:lnTo>
                <a:lnTo>
                  <a:pt x="302" y="1306"/>
                </a:lnTo>
                <a:lnTo>
                  <a:pt x="302" y="1307"/>
                </a:lnTo>
                <a:lnTo>
                  <a:pt x="302" y="1308"/>
                </a:lnTo>
                <a:lnTo>
                  <a:pt x="301" y="1308"/>
                </a:lnTo>
                <a:lnTo>
                  <a:pt x="301" y="1310"/>
                </a:lnTo>
                <a:lnTo>
                  <a:pt x="301" y="1310"/>
                </a:lnTo>
                <a:lnTo>
                  <a:pt x="302" y="1311"/>
                </a:lnTo>
                <a:lnTo>
                  <a:pt x="302" y="1311"/>
                </a:lnTo>
                <a:lnTo>
                  <a:pt x="302" y="1313"/>
                </a:lnTo>
                <a:lnTo>
                  <a:pt x="302" y="1313"/>
                </a:lnTo>
                <a:lnTo>
                  <a:pt x="302" y="1314"/>
                </a:lnTo>
                <a:lnTo>
                  <a:pt x="303" y="1315"/>
                </a:lnTo>
                <a:lnTo>
                  <a:pt x="303" y="1315"/>
                </a:lnTo>
                <a:lnTo>
                  <a:pt x="306" y="1315"/>
                </a:lnTo>
                <a:lnTo>
                  <a:pt x="306" y="1315"/>
                </a:lnTo>
                <a:lnTo>
                  <a:pt x="305" y="1317"/>
                </a:lnTo>
                <a:lnTo>
                  <a:pt x="303" y="1317"/>
                </a:lnTo>
                <a:lnTo>
                  <a:pt x="302" y="1317"/>
                </a:lnTo>
                <a:lnTo>
                  <a:pt x="302" y="1317"/>
                </a:lnTo>
                <a:lnTo>
                  <a:pt x="302" y="1318"/>
                </a:lnTo>
                <a:lnTo>
                  <a:pt x="302" y="1318"/>
                </a:lnTo>
                <a:lnTo>
                  <a:pt x="305" y="1321"/>
                </a:lnTo>
                <a:lnTo>
                  <a:pt x="305" y="1322"/>
                </a:lnTo>
                <a:lnTo>
                  <a:pt x="305" y="1323"/>
                </a:lnTo>
                <a:lnTo>
                  <a:pt x="306" y="1325"/>
                </a:lnTo>
                <a:lnTo>
                  <a:pt x="305" y="1326"/>
                </a:lnTo>
                <a:lnTo>
                  <a:pt x="305" y="1326"/>
                </a:lnTo>
                <a:lnTo>
                  <a:pt x="305" y="1327"/>
                </a:lnTo>
                <a:lnTo>
                  <a:pt x="305" y="1327"/>
                </a:lnTo>
                <a:lnTo>
                  <a:pt x="306" y="1329"/>
                </a:lnTo>
                <a:lnTo>
                  <a:pt x="307" y="1330"/>
                </a:lnTo>
                <a:lnTo>
                  <a:pt x="309" y="1333"/>
                </a:lnTo>
                <a:lnTo>
                  <a:pt x="310" y="1334"/>
                </a:lnTo>
                <a:lnTo>
                  <a:pt x="309" y="1334"/>
                </a:lnTo>
                <a:lnTo>
                  <a:pt x="307" y="1334"/>
                </a:lnTo>
                <a:lnTo>
                  <a:pt x="306" y="1333"/>
                </a:lnTo>
                <a:lnTo>
                  <a:pt x="306" y="1333"/>
                </a:lnTo>
                <a:lnTo>
                  <a:pt x="306" y="1334"/>
                </a:lnTo>
                <a:lnTo>
                  <a:pt x="307" y="1336"/>
                </a:lnTo>
                <a:lnTo>
                  <a:pt x="307" y="1336"/>
                </a:lnTo>
                <a:lnTo>
                  <a:pt x="307" y="1337"/>
                </a:lnTo>
                <a:lnTo>
                  <a:pt x="309" y="1338"/>
                </a:lnTo>
                <a:lnTo>
                  <a:pt x="309" y="1340"/>
                </a:lnTo>
                <a:lnTo>
                  <a:pt x="310" y="1342"/>
                </a:lnTo>
                <a:lnTo>
                  <a:pt x="310" y="1342"/>
                </a:lnTo>
                <a:lnTo>
                  <a:pt x="310" y="1344"/>
                </a:lnTo>
                <a:lnTo>
                  <a:pt x="310" y="1345"/>
                </a:lnTo>
                <a:lnTo>
                  <a:pt x="310" y="1346"/>
                </a:lnTo>
                <a:lnTo>
                  <a:pt x="311" y="1348"/>
                </a:lnTo>
                <a:lnTo>
                  <a:pt x="311" y="1349"/>
                </a:lnTo>
                <a:lnTo>
                  <a:pt x="310" y="1351"/>
                </a:lnTo>
                <a:lnTo>
                  <a:pt x="310" y="1349"/>
                </a:lnTo>
                <a:lnTo>
                  <a:pt x="310" y="1349"/>
                </a:lnTo>
                <a:lnTo>
                  <a:pt x="310" y="1351"/>
                </a:lnTo>
                <a:lnTo>
                  <a:pt x="310" y="1351"/>
                </a:lnTo>
                <a:lnTo>
                  <a:pt x="310" y="1352"/>
                </a:lnTo>
                <a:lnTo>
                  <a:pt x="310" y="1352"/>
                </a:lnTo>
                <a:lnTo>
                  <a:pt x="311" y="1353"/>
                </a:lnTo>
                <a:lnTo>
                  <a:pt x="311" y="1355"/>
                </a:lnTo>
                <a:lnTo>
                  <a:pt x="310" y="1356"/>
                </a:lnTo>
                <a:lnTo>
                  <a:pt x="310" y="1356"/>
                </a:lnTo>
                <a:lnTo>
                  <a:pt x="311" y="1359"/>
                </a:lnTo>
                <a:lnTo>
                  <a:pt x="311" y="1359"/>
                </a:lnTo>
                <a:lnTo>
                  <a:pt x="310" y="1360"/>
                </a:lnTo>
                <a:lnTo>
                  <a:pt x="311" y="1361"/>
                </a:lnTo>
                <a:lnTo>
                  <a:pt x="311" y="1363"/>
                </a:lnTo>
                <a:lnTo>
                  <a:pt x="313" y="1364"/>
                </a:lnTo>
                <a:lnTo>
                  <a:pt x="313" y="1364"/>
                </a:lnTo>
                <a:lnTo>
                  <a:pt x="313" y="1366"/>
                </a:lnTo>
                <a:lnTo>
                  <a:pt x="313" y="1367"/>
                </a:lnTo>
                <a:lnTo>
                  <a:pt x="311" y="1368"/>
                </a:lnTo>
                <a:lnTo>
                  <a:pt x="313" y="1370"/>
                </a:lnTo>
                <a:lnTo>
                  <a:pt x="314" y="1371"/>
                </a:lnTo>
                <a:lnTo>
                  <a:pt x="314" y="1371"/>
                </a:lnTo>
                <a:lnTo>
                  <a:pt x="314" y="1372"/>
                </a:lnTo>
                <a:lnTo>
                  <a:pt x="314" y="1372"/>
                </a:lnTo>
                <a:lnTo>
                  <a:pt x="313" y="1374"/>
                </a:lnTo>
                <a:lnTo>
                  <a:pt x="313" y="1374"/>
                </a:lnTo>
                <a:lnTo>
                  <a:pt x="313" y="1374"/>
                </a:lnTo>
                <a:lnTo>
                  <a:pt x="314" y="1376"/>
                </a:lnTo>
                <a:lnTo>
                  <a:pt x="316" y="1375"/>
                </a:lnTo>
                <a:lnTo>
                  <a:pt x="316" y="1375"/>
                </a:lnTo>
                <a:lnTo>
                  <a:pt x="317" y="1375"/>
                </a:lnTo>
                <a:lnTo>
                  <a:pt x="317" y="1376"/>
                </a:lnTo>
                <a:lnTo>
                  <a:pt x="317" y="1378"/>
                </a:lnTo>
                <a:lnTo>
                  <a:pt x="317" y="1378"/>
                </a:lnTo>
                <a:lnTo>
                  <a:pt x="316" y="1376"/>
                </a:lnTo>
                <a:lnTo>
                  <a:pt x="316" y="1376"/>
                </a:lnTo>
                <a:lnTo>
                  <a:pt x="314" y="1376"/>
                </a:lnTo>
                <a:lnTo>
                  <a:pt x="314" y="1376"/>
                </a:lnTo>
                <a:lnTo>
                  <a:pt x="313" y="1376"/>
                </a:lnTo>
                <a:lnTo>
                  <a:pt x="313" y="1376"/>
                </a:lnTo>
                <a:lnTo>
                  <a:pt x="313" y="1378"/>
                </a:lnTo>
                <a:lnTo>
                  <a:pt x="314" y="1378"/>
                </a:lnTo>
                <a:lnTo>
                  <a:pt x="314" y="1379"/>
                </a:lnTo>
                <a:lnTo>
                  <a:pt x="314" y="1379"/>
                </a:lnTo>
                <a:lnTo>
                  <a:pt x="316" y="1379"/>
                </a:lnTo>
                <a:lnTo>
                  <a:pt x="317" y="1379"/>
                </a:lnTo>
                <a:lnTo>
                  <a:pt x="317" y="1380"/>
                </a:lnTo>
                <a:lnTo>
                  <a:pt x="316" y="1380"/>
                </a:lnTo>
                <a:lnTo>
                  <a:pt x="316" y="1380"/>
                </a:lnTo>
                <a:lnTo>
                  <a:pt x="316" y="1382"/>
                </a:lnTo>
                <a:lnTo>
                  <a:pt x="317" y="1382"/>
                </a:lnTo>
                <a:lnTo>
                  <a:pt x="317" y="1382"/>
                </a:lnTo>
                <a:lnTo>
                  <a:pt x="317" y="1382"/>
                </a:lnTo>
                <a:lnTo>
                  <a:pt x="316" y="1382"/>
                </a:lnTo>
                <a:lnTo>
                  <a:pt x="316" y="1382"/>
                </a:lnTo>
                <a:lnTo>
                  <a:pt x="314" y="1380"/>
                </a:lnTo>
                <a:lnTo>
                  <a:pt x="314" y="1380"/>
                </a:lnTo>
                <a:lnTo>
                  <a:pt x="313" y="1379"/>
                </a:lnTo>
                <a:lnTo>
                  <a:pt x="313" y="1379"/>
                </a:lnTo>
                <a:lnTo>
                  <a:pt x="313" y="1379"/>
                </a:lnTo>
                <a:lnTo>
                  <a:pt x="313" y="1382"/>
                </a:lnTo>
                <a:lnTo>
                  <a:pt x="313" y="1382"/>
                </a:lnTo>
                <a:lnTo>
                  <a:pt x="313" y="1382"/>
                </a:lnTo>
                <a:lnTo>
                  <a:pt x="314" y="1383"/>
                </a:lnTo>
                <a:lnTo>
                  <a:pt x="314" y="1385"/>
                </a:lnTo>
                <a:lnTo>
                  <a:pt x="316" y="1387"/>
                </a:lnTo>
                <a:lnTo>
                  <a:pt x="316" y="1389"/>
                </a:lnTo>
                <a:lnTo>
                  <a:pt x="317" y="1389"/>
                </a:lnTo>
                <a:lnTo>
                  <a:pt x="318" y="1390"/>
                </a:lnTo>
                <a:lnTo>
                  <a:pt x="317" y="1390"/>
                </a:lnTo>
                <a:lnTo>
                  <a:pt x="317" y="1390"/>
                </a:lnTo>
                <a:lnTo>
                  <a:pt x="316" y="1390"/>
                </a:lnTo>
                <a:lnTo>
                  <a:pt x="316" y="1391"/>
                </a:lnTo>
                <a:lnTo>
                  <a:pt x="317" y="1391"/>
                </a:lnTo>
                <a:lnTo>
                  <a:pt x="317" y="1393"/>
                </a:lnTo>
                <a:lnTo>
                  <a:pt x="317" y="1393"/>
                </a:lnTo>
                <a:lnTo>
                  <a:pt x="317" y="1394"/>
                </a:lnTo>
                <a:lnTo>
                  <a:pt x="318" y="1398"/>
                </a:lnTo>
                <a:lnTo>
                  <a:pt x="320" y="1400"/>
                </a:lnTo>
                <a:lnTo>
                  <a:pt x="320" y="1401"/>
                </a:lnTo>
                <a:lnTo>
                  <a:pt x="320" y="1401"/>
                </a:lnTo>
                <a:lnTo>
                  <a:pt x="320" y="1401"/>
                </a:lnTo>
                <a:lnTo>
                  <a:pt x="321" y="1401"/>
                </a:lnTo>
                <a:lnTo>
                  <a:pt x="321" y="1401"/>
                </a:lnTo>
                <a:lnTo>
                  <a:pt x="321" y="1402"/>
                </a:lnTo>
                <a:lnTo>
                  <a:pt x="321" y="1404"/>
                </a:lnTo>
                <a:lnTo>
                  <a:pt x="321" y="1408"/>
                </a:lnTo>
                <a:lnTo>
                  <a:pt x="321" y="1405"/>
                </a:lnTo>
                <a:lnTo>
                  <a:pt x="322" y="1404"/>
                </a:lnTo>
                <a:lnTo>
                  <a:pt x="322" y="1404"/>
                </a:lnTo>
                <a:lnTo>
                  <a:pt x="324" y="1402"/>
                </a:lnTo>
                <a:lnTo>
                  <a:pt x="324" y="1404"/>
                </a:lnTo>
                <a:lnTo>
                  <a:pt x="322" y="1404"/>
                </a:lnTo>
                <a:lnTo>
                  <a:pt x="322" y="1405"/>
                </a:lnTo>
                <a:lnTo>
                  <a:pt x="322" y="1405"/>
                </a:lnTo>
                <a:lnTo>
                  <a:pt x="322" y="1409"/>
                </a:lnTo>
                <a:lnTo>
                  <a:pt x="322" y="1409"/>
                </a:lnTo>
                <a:lnTo>
                  <a:pt x="322" y="1409"/>
                </a:lnTo>
                <a:lnTo>
                  <a:pt x="321" y="1410"/>
                </a:lnTo>
                <a:lnTo>
                  <a:pt x="321" y="1410"/>
                </a:lnTo>
                <a:lnTo>
                  <a:pt x="322" y="1410"/>
                </a:lnTo>
                <a:lnTo>
                  <a:pt x="322" y="1410"/>
                </a:lnTo>
                <a:lnTo>
                  <a:pt x="322" y="1412"/>
                </a:lnTo>
                <a:lnTo>
                  <a:pt x="322" y="1412"/>
                </a:lnTo>
                <a:lnTo>
                  <a:pt x="324" y="1413"/>
                </a:lnTo>
                <a:lnTo>
                  <a:pt x="325" y="1413"/>
                </a:lnTo>
                <a:lnTo>
                  <a:pt x="325" y="1413"/>
                </a:lnTo>
                <a:lnTo>
                  <a:pt x="325" y="1413"/>
                </a:lnTo>
                <a:lnTo>
                  <a:pt x="324" y="1413"/>
                </a:lnTo>
                <a:lnTo>
                  <a:pt x="324" y="1414"/>
                </a:lnTo>
                <a:lnTo>
                  <a:pt x="325" y="1416"/>
                </a:lnTo>
                <a:lnTo>
                  <a:pt x="326" y="1417"/>
                </a:lnTo>
                <a:lnTo>
                  <a:pt x="330" y="1420"/>
                </a:lnTo>
                <a:lnTo>
                  <a:pt x="330" y="1421"/>
                </a:lnTo>
                <a:lnTo>
                  <a:pt x="333" y="1425"/>
                </a:lnTo>
                <a:lnTo>
                  <a:pt x="333" y="1427"/>
                </a:lnTo>
                <a:lnTo>
                  <a:pt x="333" y="1429"/>
                </a:lnTo>
                <a:lnTo>
                  <a:pt x="333" y="1431"/>
                </a:lnTo>
                <a:lnTo>
                  <a:pt x="335" y="1431"/>
                </a:lnTo>
                <a:lnTo>
                  <a:pt x="335" y="1431"/>
                </a:lnTo>
                <a:lnTo>
                  <a:pt x="336" y="1431"/>
                </a:lnTo>
                <a:lnTo>
                  <a:pt x="337" y="1431"/>
                </a:lnTo>
                <a:lnTo>
                  <a:pt x="336" y="1432"/>
                </a:lnTo>
                <a:lnTo>
                  <a:pt x="336" y="1432"/>
                </a:lnTo>
                <a:lnTo>
                  <a:pt x="336" y="1434"/>
                </a:lnTo>
                <a:lnTo>
                  <a:pt x="336" y="1435"/>
                </a:lnTo>
                <a:lnTo>
                  <a:pt x="337" y="1436"/>
                </a:lnTo>
                <a:lnTo>
                  <a:pt x="337" y="1438"/>
                </a:lnTo>
                <a:lnTo>
                  <a:pt x="339" y="1438"/>
                </a:lnTo>
                <a:lnTo>
                  <a:pt x="339" y="1438"/>
                </a:lnTo>
                <a:lnTo>
                  <a:pt x="341" y="1436"/>
                </a:lnTo>
                <a:lnTo>
                  <a:pt x="341" y="1436"/>
                </a:lnTo>
                <a:lnTo>
                  <a:pt x="341" y="1435"/>
                </a:lnTo>
                <a:lnTo>
                  <a:pt x="343" y="1435"/>
                </a:lnTo>
                <a:lnTo>
                  <a:pt x="345" y="1435"/>
                </a:lnTo>
                <a:lnTo>
                  <a:pt x="345" y="1436"/>
                </a:lnTo>
                <a:lnTo>
                  <a:pt x="341" y="1436"/>
                </a:lnTo>
                <a:lnTo>
                  <a:pt x="340" y="1438"/>
                </a:lnTo>
                <a:lnTo>
                  <a:pt x="340" y="1438"/>
                </a:lnTo>
                <a:lnTo>
                  <a:pt x="340" y="1439"/>
                </a:lnTo>
                <a:lnTo>
                  <a:pt x="339" y="1439"/>
                </a:lnTo>
                <a:lnTo>
                  <a:pt x="339" y="1439"/>
                </a:lnTo>
                <a:lnTo>
                  <a:pt x="339" y="1440"/>
                </a:lnTo>
                <a:lnTo>
                  <a:pt x="339" y="1440"/>
                </a:lnTo>
                <a:lnTo>
                  <a:pt x="339" y="1442"/>
                </a:lnTo>
                <a:lnTo>
                  <a:pt x="340" y="1443"/>
                </a:lnTo>
                <a:lnTo>
                  <a:pt x="340" y="1444"/>
                </a:lnTo>
                <a:lnTo>
                  <a:pt x="341" y="1446"/>
                </a:lnTo>
                <a:lnTo>
                  <a:pt x="341" y="1446"/>
                </a:lnTo>
                <a:lnTo>
                  <a:pt x="343" y="1446"/>
                </a:lnTo>
                <a:lnTo>
                  <a:pt x="347" y="1443"/>
                </a:lnTo>
                <a:lnTo>
                  <a:pt x="347" y="1443"/>
                </a:lnTo>
                <a:lnTo>
                  <a:pt x="347" y="1443"/>
                </a:lnTo>
                <a:lnTo>
                  <a:pt x="347" y="1444"/>
                </a:lnTo>
                <a:lnTo>
                  <a:pt x="347" y="1444"/>
                </a:lnTo>
                <a:lnTo>
                  <a:pt x="347" y="1444"/>
                </a:lnTo>
                <a:lnTo>
                  <a:pt x="344" y="1446"/>
                </a:lnTo>
                <a:lnTo>
                  <a:pt x="344" y="1446"/>
                </a:lnTo>
                <a:lnTo>
                  <a:pt x="343" y="1446"/>
                </a:lnTo>
                <a:lnTo>
                  <a:pt x="343" y="1447"/>
                </a:lnTo>
                <a:lnTo>
                  <a:pt x="343" y="1447"/>
                </a:lnTo>
                <a:lnTo>
                  <a:pt x="343" y="1448"/>
                </a:lnTo>
                <a:lnTo>
                  <a:pt x="343" y="1448"/>
                </a:lnTo>
                <a:lnTo>
                  <a:pt x="345" y="1448"/>
                </a:lnTo>
                <a:lnTo>
                  <a:pt x="345" y="1448"/>
                </a:lnTo>
                <a:lnTo>
                  <a:pt x="345" y="1448"/>
                </a:lnTo>
                <a:lnTo>
                  <a:pt x="347" y="1450"/>
                </a:lnTo>
                <a:lnTo>
                  <a:pt x="347" y="1450"/>
                </a:lnTo>
                <a:lnTo>
                  <a:pt x="348" y="1450"/>
                </a:lnTo>
                <a:lnTo>
                  <a:pt x="348" y="1450"/>
                </a:lnTo>
                <a:lnTo>
                  <a:pt x="351" y="1450"/>
                </a:lnTo>
                <a:lnTo>
                  <a:pt x="351" y="1451"/>
                </a:lnTo>
                <a:lnTo>
                  <a:pt x="352" y="1453"/>
                </a:lnTo>
                <a:lnTo>
                  <a:pt x="354" y="1453"/>
                </a:lnTo>
                <a:lnTo>
                  <a:pt x="352" y="1454"/>
                </a:lnTo>
                <a:lnTo>
                  <a:pt x="352" y="1454"/>
                </a:lnTo>
                <a:lnTo>
                  <a:pt x="352" y="1454"/>
                </a:lnTo>
                <a:lnTo>
                  <a:pt x="352" y="1454"/>
                </a:lnTo>
                <a:lnTo>
                  <a:pt x="352" y="1453"/>
                </a:lnTo>
                <a:lnTo>
                  <a:pt x="351" y="1451"/>
                </a:lnTo>
                <a:lnTo>
                  <a:pt x="348" y="1451"/>
                </a:lnTo>
                <a:lnTo>
                  <a:pt x="348" y="1451"/>
                </a:lnTo>
                <a:lnTo>
                  <a:pt x="347" y="1451"/>
                </a:lnTo>
                <a:lnTo>
                  <a:pt x="347" y="1451"/>
                </a:lnTo>
                <a:lnTo>
                  <a:pt x="345" y="1451"/>
                </a:lnTo>
                <a:lnTo>
                  <a:pt x="345" y="1451"/>
                </a:lnTo>
                <a:lnTo>
                  <a:pt x="341" y="1451"/>
                </a:lnTo>
                <a:lnTo>
                  <a:pt x="343" y="1453"/>
                </a:lnTo>
                <a:lnTo>
                  <a:pt x="344" y="1454"/>
                </a:lnTo>
                <a:lnTo>
                  <a:pt x="345" y="1454"/>
                </a:lnTo>
                <a:lnTo>
                  <a:pt x="347" y="1454"/>
                </a:lnTo>
                <a:lnTo>
                  <a:pt x="348" y="1454"/>
                </a:lnTo>
                <a:lnTo>
                  <a:pt x="348" y="1455"/>
                </a:lnTo>
                <a:lnTo>
                  <a:pt x="352" y="1466"/>
                </a:lnTo>
                <a:lnTo>
                  <a:pt x="352" y="1466"/>
                </a:lnTo>
                <a:lnTo>
                  <a:pt x="352" y="1466"/>
                </a:lnTo>
                <a:lnTo>
                  <a:pt x="352" y="1468"/>
                </a:lnTo>
                <a:lnTo>
                  <a:pt x="351" y="1468"/>
                </a:lnTo>
                <a:lnTo>
                  <a:pt x="351" y="1469"/>
                </a:lnTo>
                <a:lnTo>
                  <a:pt x="350" y="1469"/>
                </a:lnTo>
                <a:lnTo>
                  <a:pt x="350" y="1472"/>
                </a:lnTo>
                <a:lnTo>
                  <a:pt x="352" y="1472"/>
                </a:lnTo>
                <a:lnTo>
                  <a:pt x="354" y="1473"/>
                </a:lnTo>
                <a:lnTo>
                  <a:pt x="355" y="1476"/>
                </a:lnTo>
                <a:lnTo>
                  <a:pt x="355" y="1476"/>
                </a:lnTo>
                <a:lnTo>
                  <a:pt x="356" y="1476"/>
                </a:lnTo>
                <a:lnTo>
                  <a:pt x="356" y="1477"/>
                </a:lnTo>
                <a:lnTo>
                  <a:pt x="358" y="1477"/>
                </a:lnTo>
                <a:lnTo>
                  <a:pt x="356" y="1480"/>
                </a:lnTo>
                <a:lnTo>
                  <a:pt x="356" y="1480"/>
                </a:lnTo>
                <a:lnTo>
                  <a:pt x="358" y="1481"/>
                </a:lnTo>
                <a:lnTo>
                  <a:pt x="359" y="1482"/>
                </a:lnTo>
                <a:lnTo>
                  <a:pt x="360" y="1482"/>
                </a:lnTo>
                <a:lnTo>
                  <a:pt x="360" y="1482"/>
                </a:lnTo>
                <a:lnTo>
                  <a:pt x="362" y="1485"/>
                </a:lnTo>
                <a:lnTo>
                  <a:pt x="362" y="1485"/>
                </a:lnTo>
                <a:lnTo>
                  <a:pt x="362" y="1485"/>
                </a:lnTo>
                <a:lnTo>
                  <a:pt x="363" y="1485"/>
                </a:lnTo>
                <a:lnTo>
                  <a:pt x="364" y="1485"/>
                </a:lnTo>
                <a:lnTo>
                  <a:pt x="364" y="1484"/>
                </a:lnTo>
                <a:lnTo>
                  <a:pt x="364" y="1484"/>
                </a:lnTo>
                <a:lnTo>
                  <a:pt x="367" y="1482"/>
                </a:lnTo>
                <a:lnTo>
                  <a:pt x="367" y="1482"/>
                </a:lnTo>
                <a:lnTo>
                  <a:pt x="367" y="1482"/>
                </a:lnTo>
                <a:lnTo>
                  <a:pt x="369" y="1484"/>
                </a:lnTo>
                <a:lnTo>
                  <a:pt x="369" y="1484"/>
                </a:lnTo>
                <a:lnTo>
                  <a:pt x="369" y="1484"/>
                </a:lnTo>
                <a:lnTo>
                  <a:pt x="369" y="1484"/>
                </a:lnTo>
                <a:lnTo>
                  <a:pt x="369" y="1485"/>
                </a:lnTo>
                <a:lnTo>
                  <a:pt x="369" y="1484"/>
                </a:lnTo>
                <a:lnTo>
                  <a:pt x="367" y="1484"/>
                </a:lnTo>
                <a:lnTo>
                  <a:pt x="366" y="1485"/>
                </a:lnTo>
                <a:lnTo>
                  <a:pt x="366" y="1485"/>
                </a:lnTo>
                <a:lnTo>
                  <a:pt x="364" y="1485"/>
                </a:lnTo>
                <a:lnTo>
                  <a:pt x="364" y="1487"/>
                </a:lnTo>
                <a:lnTo>
                  <a:pt x="364" y="1487"/>
                </a:lnTo>
                <a:lnTo>
                  <a:pt x="363" y="1487"/>
                </a:lnTo>
                <a:lnTo>
                  <a:pt x="363" y="1487"/>
                </a:lnTo>
                <a:lnTo>
                  <a:pt x="362" y="1487"/>
                </a:lnTo>
                <a:lnTo>
                  <a:pt x="362" y="1487"/>
                </a:lnTo>
                <a:lnTo>
                  <a:pt x="362" y="1488"/>
                </a:lnTo>
                <a:lnTo>
                  <a:pt x="362" y="1488"/>
                </a:lnTo>
                <a:lnTo>
                  <a:pt x="360" y="1488"/>
                </a:lnTo>
                <a:lnTo>
                  <a:pt x="360" y="1489"/>
                </a:lnTo>
                <a:lnTo>
                  <a:pt x="362" y="1489"/>
                </a:lnTo>
                <a:lnTo>
                  <a:pt x="363" y="1491"/>
                </a:lnTo>
                <a:lnTo>
                  <a:pt x="363" y="1491"/>
                </a:lnTo>
                <a:lnTo>
                  <a:pt x="364" y="1492"/>
                </a:lnTo>
                <a:lnTo>
                  <a:pt x="364" y="1492"/>
                </a:lnTo>
                <a:lnTo>
                  <a:pt x="364" y="1492"/>
                </a:lnTo>
                <a:lnTo>
                  <a:pt x="366" y="1492"/>
                </a:lnTo>
                <a:lnTo>
                  <a:pt x="366" y="1492"/>
                </a:lnTo>
                <a:lnTo>
                  <a:pt x="367" y="1493"/>
                </a:lnTo>
                <a:lnTo>
                  <a:pt x="367" y="1492"/>
                </a:lnTo>
                <a:lnTo>
                  <a:pt x="369" y="1492"/>
                </a:lnTo>
                <a:lnTo>
                  <a:pt x="369" y="1492"/>
                </a:lnTo>
                <a:lnTo>
                  <a:pt x="370" y="1493"/>
                </a:lnTo>
                <a:lnTo>
                  <a:pt x="371" y="1495"/>
                </a:lnTo>
                <a:lnTo>
                  <a:pt x="371" y="1497"/>
                </a:lnTo>
                <a:lnTo>
                  <a:pt x="371" y="1499"/>
                </a:lnTo>
                <a:lnTo>
                  <a:pt x="371" y="1499"/>
                </a:lnTo>
                <a:lnTo>
                  <a:pt x="371" y="1500"/>
                </a:lnTo>
                <a:lnTo>
                  <a:pt x="371" y="1500"/>
                </a:lnTo>
                <a:lnTo>
                  <a:pt x="373" y="1500"/>
                </a:lnTo>
                <a:lnTo>
                  <a:pt x="373" y="1500"/>
                </a:lnTo>
                <a:lnTo>
                  <a:pt x="374" y="1500"/>
                </a:lnTo>
                <a:lnTo>
                  <a:pt x="374" y="1500"/>
                </a:lnTo>
                <a:lnTo>
                  <a:pt x="375" y="1500"/>
                </a:lnTo>
                <a:lnTo>
                  <a:pt x="375" y="1500"/>
                </a:lnTo>
                <a:lnTo>
                  <a:pt x="374" y="1500"/>
                </a:lnTo>
                <a:lnTo>
                  <a:pt x="373" y="1502"/>
                </a:lnTo>
                <a:lnTo>
                  <a:pt x="373" y="1503"/>
                </a:lnTo>
                <a:lnTo>
                  <a:pt x="373" y="1504"/>
                </a:lnTo>
                <a:lnTo>
                  <a:pt x="373" y="1506"/>
                </a:lnTo>
                <a:lnTo>
                  <a:pt x="374" y="1506"/>
                </a:lnTo>
                <a:lnTo>
                  <a:pt x="374" y="1506"/>
                </a:lnTo>
                <a:lnTo>
                  <a:pt x="375" y="1506"/>
                </a:lnTo>
                <a:lnTo>
                  <a:pt x="375" y="1504"/>
                </a:lnTo>
                <a:lnTo>
                  <a:pt x="375" y="1504"/>
                </a:lnTo>
                <a:lnTo>
                  <a:pt x="375" y="1503"/>
                </a:lnTo>
                <a:lnTo>
                  <a:pt x="377" y="1503"/>
                </a:lnTo>
                <a:lnTo>
                  <a:pt x="377" y="1503"/>
                </a:lnTo>
                <a:lnTo>
                  <a:pt x="377" y="1503"/>
                </a:lnTo>
                <a:lnTo>
                  <a:pt x="377" y="1504"/>
                </a:lnTo>
                <a:lnTo>
                  <a:pt x="377" y="1504"/>
                </a:lnTo>
                <a:lnTo>
                  <a:pt x="377" y="1504"/>
                </a:lnTo>
                <a:lnTo>
                  <a:pt x="378" y="1504"/>
                </a:lnTo>
                <a:lnTo>
                  <a:pt x="378" y="1504"/>
                </a:lnTo>
                <a:lnTo>
                  <a:pt x="378" y="1504"/>
                </a:lnTo>
                <a:lnTo>
                  <a:pt x="378" y="1506"/>
                </a:lnTo>
                <a:lnTo>
                  <a:pt x="378" y="1506"/>
                </a:lnTo>
                <a:lnTo>
                  <a:pt x="381" y="1508"/>
                </a:lnTo>
                <a:lnTo>
                  <a:pt x="379" y="1508"/>
                </a:lnTo>
                <a:lnTo>
                  <a:pt x="379" y="1508"/>
                </a:lnTo>
                <a:lnTo>
                  <a:pt x="379" y="1510"/>
                </a:lnTo>
                <a:lnTo>
                  <a:pt x="378" y="1510"/>
                </a:lnTo>
                <a:lnTo>
                  <a:pt x="378" y="1508"/>
                </a:lnTo>
                <a:lnTo>
                  <a:pt x="377" y="1506"/>
                </a:lnTo>
                <a:lnTo>
                  <a:pt x="377" y="1506"/>
                </a:lnTo>
                <a:lnTo>
                  <a:pt x="377" y="1507"/>
                </a:lnTo>
                <a:lnTo>
                  <a:pt x="378" y="1508"/>
                </a:lnTo>
                <a:lnTo>
                  <a:pt x="378" y="1511"/>
                </a:lnTo>
                <a:lnTo>
                  <a:pt x="378" y="1511"/>
                </a:lnTo>
                <a:lnTo>
                  <a:pt x="378" y="1512"/>
                </a:lnTo>
                <a:lnTo>
                  <a:pt x="378" y="1512"/>
                </a:lnTo>
                <a:lnTo>
                  <a:pt x="378" y="1514"/>
                </a:lnTo>
                <a:lnTo>
                  <a:pt x="379" y="1515"/>
                </a:lnTo>
                <a:lnTo>
                  <a:pt x="379" y="1515"/>
                </a:lnTo>
                <a:lnTo>
                  <a:pt x="379" y="1516"/>
                </a:lnTo>
                <a:lnTo>
                  <a:pt x="379" y="1519"/>
                </a:lnTo>
                <a:lnTo>
                  <a:pt x="381" y="1521"/>
                </a:lnTo>
                <a:lnTo>
                  <a:pt x="381" y="1521"/>
                </a:lnTo>
                <a:lnTo>
                  <a:pt x="385" y="1522"/>
                </a:lnTo>
                <a:lnTo>
                  <a:pt x="386" y="1522"/>
                </a:lnTo>
                <a:lnTo>
                  <a:pt x="385" y="1522"/>
                </a:lnTo>
                <a:lnTo>
                  <a:pt x="384" y="1522"/>
                </a:lnTo>
                <a:lnTo>
                  <a:pt x="382" y="1522"/>
                </a:lnTo>
                <a:lnTo>
                  <a:pt x="381" y="1522"/>
                </a:lnTo>
                <a:lnTo>
                  <a:pt x="381" y="1523"/>
                </a:lnTo>
                <a:lnTo>
                  <a:pt x="381" y="1525"/>
                </a:lnTo>
                <a:lnTo>
                  <a:pt x="384" y="1526"/>
                </a:lnTo>
                <a:lnTo>
                  <a:pt x="384" y="1527"/>
                </a:lnTo>
                <a:lnTo>
                  <a:pt x="384" y="1531"/>
                </a:lnTo>
                <a:lnTo>
                  <a:pt x="384" y="1531"/>
                </a:lnTo>
                <a:lnTo>
                  <a:pt x="385" y="1533"/>
                </a:lnTo>
                <a:lnTo>
                  <a:pt x="385" y="1533"/>
                </a:lnTo>
                <a:lnTo>
                  <a:pt x="385" y="1534"/>
                </a:lnTo>
                <a:lnTo>
                  <a:pt x="385" y="1536"/>
                </a:lnTo>
                <a:lnTo>
                  <a:pt x="385" y="1536"/>
                </a:lnTo>
                <a:lnTo>
                  <a:pt x="385" y="1537"/>
                </a:lnTo>
                <a:lnTo>
                  <a:pt x="388" y="1540"/>
                </a:lnTo>
                <a:lnTo>
                  <a:pt x="388" y="1541"/>
                </a:lnTo>
                <a:lnTo>
                  <a:pt x="390" y="1544"/>
                </a:lnTo>
                <a:lnTo>
                  <a:pt x="390" y="1545"/>
                </a:lnTo>
                <a:lnTo>
                  <a:pt x="392" y="1548"/>
                </a:lnTo>
                <a:lnTo>
                  <a:pt x="393" y="1552"/>
                </a:lnTo>
                <a:lnTo>
                  <a:pt x="394" y="1556"/>
                </a:lnTo>
                <a:lnTo>
                  <a:pt x="394" y="1559"/>
                </a:lnTo>
                <a:lnTo>
                  <a:pt x="396" y="1556"/>
                </a:lnTo>
                <a:lnTo>
                  <a:pt x="397" y="1556"/>
                </a:lnTo>
                <a:lnTo>
                  <a:pt x="397" y="1556"/>
                </a:lnTo>
                <a:lnTo>
                  <a:pt x="397" y="1557"/>
                </a:lnTo>
                <a:lnTo>
                  <a:pt x="397" y="1557"/>
                </a:lnTo>
                <a:lnTo>
                  <a:pt x="397" y="1557"/>
                </a:lnTo>
                <a:lnTo>
                  <a:pt x="398" y="1559"/>
                </a:lnTo>
                <a:lnTo>
                  <a:pt x="398" y="1559"/>
                </a:lnTo>
                <a:lnTo>
                  <a:pt x="400" y="1559"/>
                </a:lnTo>
                <a:lnTo>
                  <a:pt x="398" y="1560"/>
                </a:lnTo>
                <a:lnTo>
                  <a:pt x="398" y="1560"/>
                </a:lnTo>
                <a:lnTo>
                  <a:pt x="397" y="1560"/>
                </a:lnTo>
                <a:lnTo>
                  <a:pt x="397" y="1560"/>
                </a:lnTo>
                <a:lnTo>
                  <a:pt x="396" y="1560"/>
                </a:lnTo>
                <a:lnTo>
                  <a:pt x="396" y="1560"/>
                </a:lnTo>
                <a:lnTo>
                  <a:pt x="396" y="1560"/>
                </a:lnTo>
                <a:lnTo>
                  <a:pt x="396" y="1560"/>
                </a:lnTo>
                <a:lnTo>
                  <a:pt x="396" y="1560"/>
                </a:lnTo>
                <a:lnTo>
                  <a:pt x="396" y="1560"/>
                </a:lnTo>
                <a:lnTo>
                  <a:pt x="396" y="1560"/>
                </a:lnTo>
                <a:lnTo>
                  <a:pt x="396" y="1561"/>
                </a:lnTo>
                <a:lnTo>
                  <a:pt x="396" y="1561"/>
                </a:lnTo>
                <a:lnTo>
                  <a:pt x="396" y="1561"/>
                </a:lnTo>
                <a:lnTo>
                  <a:pt x="396" y="1565"/>
                </a:lnTo>
                <a:lnTo>
                  <a:pt x="396" y="1567"/>
                </a:lnTo>
                <a:lnTo>
                  <a:pt x="397" y="1571"/>
                </a:lnTo>
                <a:lnTo>
                  <a:pt x="397" y="1572"/>
                </a:lnTo>
                <a:lnTo>
                  <a:pt x="397" y="1574"/>
                </a:lnTo>
                <a:lnTo>
                  <a:pt x="397" y="1574"/>
                </a:lnTo>
                <a:lnTo>
                  <a:pt x="397" y="1574"/>
                </a:lnTo>
                <a:lnTo>
                  <a:pt x="397" y="1572"/>
                </a:lnTo>
                <a:lnTo>
                  <a:pt x="396" y="1571"/>
                </a:lnTo>
                <a:lnTo>
                  <a:pt x="396" y="1572"/>
                </a:lnTo>
                <a:lnTo>
                  <a:pt x="397" y="1574"/>
                </a:lnTo>
                <a:lnTo>
                  <a:pt x="397" y="1575"/>
                </a:lnTo>
                <a:lnTo>
                  <a:pt x="397" y="1575"/>
                </a:lnTo>
                <a:lnTo>
                  <a:pt x="397" y="1576"/>
                </a:lnTo>
                <a:lnTo>
                  <a:pt x="397" y="1578"/>
                </a:lnTo>
                <a:lnTo>
                  <a:pt x="398" y="1579"/>
                </a:lnTo>
                <a:lnTo>
                  <a:pt x="400" y="1583"/>
                </a:lnTo>
                <a:lnTo>
                  <a:pt x="400" y="1586"/>
                </a:lnTo>
                <a:lnTo>
                  <a:pt x="400" y="1589"/>
                </a:lnTo>
                <a:lnTo>
                  <a:pt x="400" y="1589"/>
                </a:lnTo>
                <a:lnTo>
                  <a:pt x="401" y="1590"/>
                </a:lnTo>
                <a:lnTo>
                  <a:pt x="401" y="1590"/>
                </a:lnTo>
                <a:lnTo>
                  <a:pt x="401" y="1591"/>
                </a:lnTo>
                <a:lnTo>
                  <a:pt x="401" y="1593"/>
                </a:lnTo>
                <a:lnTo>
                  <a:pt x="401" y="1593"/>
                </a:lnTo>
                <a:lnTo>
                  <a:pt x="403" y="1594"/>
                </a:lnTo>
                <a:lnTo>
                  <a:pt x="401" y="1595"/>
                </a:lnTo>
                <a:lnTo>
                  <a:pt x="404" y="1608"/>
                </a:lnTo>
                <a:lnTo>
                  <a:pt x="407" y="1608"/>
                </a:lnTo>
                <a:lnTo>
                  <a:pt x="409" y="1606"/>
                </a:lnTo>
                <a:lnTo>
                  <a:pt x="412" y="1606"/>
                </a:lnTo>
                <a:lnTo>
                  <a:pt x="411" y="1608"/>
                </a:lnTo>
                <a:lnTo>
                  <a:pt x="411" y="1608"/>
                </a:lnTo>
                <a:lnTo>
                  <a:pt x="409" y="1608"/>
                </a:lnTo>
                <a:lnTo>
                  <a:pt x="409" y="1608"/>
                </a:lnTo>
                <a:lnTo>
                  <a:pt x="408" y="1608"/>
                </a:lnTo>
                <a:lnTo>
                  <a:pt x="408" y="1609"/>
                </a:lnTo>
                <a:lnTo>
                  <a:pt x="407" y="1610"/>
                </a:lnTo>
                <a:lnTo>
                  <a:pt x="407" y="1609"/>
                </a:lnTo>
                <a:lnTo>
                  <a:pt x="405" y="1609"/>
                </a:lnTo>
                <a:lnTo>
                  <a:pt x="405" y="1610"/>
                </a:lnTo>
                <a:lnTo>
                  <a:pt x="405" y="1610"/>
                </a:lnTo>
                <a:lnTo>
                  <a:pt x="407" y="1610"/>
                </a:lnTo>
                <a:lnTo>
                  <a:pt x="407" y="1612"/>
                </a:lnTo>
                <a:lnTo>
                  <a:pt x="407" y="1612"/>
                </a:lnTo>
                <a:lnTo>
                  <a:pt x="407" y="1613"/>
                </a:lnTo>
                <a:lnTo>
                  <a:pt x="407" y="1613"/>
                </a:lnTo>
                <a:lnTo>
                  <a:pt x="408" y="1614"/>
                </a:lnTo>
                <a:lnTo>
                  <a:pt x="408" y="1616"/>
                </a:lnTo>
                <a:lnTo>
                  <a:pt x="412" y="1627"/>
                </a:lnTo>
                <a:lnTo>
                  <a:pt x="413" y="1629"/>
                </a:lnTo>
                <a:lnTo>
                  <a:pt x="415" y="1629"/>
                </a:lnTo>
                <a:lnTo>
                  <a:pt x="415" y="1631"/>
                </a:lnTo>
                <a:lnTo>
                  <a:pt x="415" y="1632"/>
                </a:lnTo>
                <a:lnTo>
                  <a:pt x="415" y="1632"/>
                </a:lnTo>
                <a:lnTo>
                  <a:pt x="416" y="1632"/>
                </a:lnTo>
                <a:lnTo>
                  <a:pt x="416" y="1633"/>
                </a:lnTo>
                <a:lnTo>
                  <a:pt x="416" y="1633"/>
                </a:lnTo>
                <a:lnTo>
                  <a:pt x="416" y="1635"/>
                </a:lnTo>
                <a:lnTo>
                  <a:pt x="420" y="1642"/>
                </a:lnTo>
                <a:lnTo>
                  <a:pt x="422" y="1643"/>
                </a:lnTo>
                <a:lnTo>
                  <a:pt x="422" y="1644"/>
                </a:lnTo>
                <a:lnTo>
                  <a:pt x="422" y="1646"/>
                </a:lnTo>
                <a:lnTo>
                  <a:pt x="422" y="1647"/>
                </a:lnTo>
                <a:lnTo>
                  <a:pt x="423" y="1646"/>
                </a:lnTo>
                <a:lnTo>
                  <a:pt x="423" y="1646"/>
                </a:lnTo>
                <a:lnTo>
                  <a:pt x="423" y="1644"/>
                </a:lnTo>
                <a:lnTo>
                  <a:pt x="424" y="1644"/>
                </a:lnTo>
                <a:lnTo>
                  <a:pt x="424" y="1646"/>
                </a:lnTo>
                <a:lnTo>
                  <a:pt x="423" y="1647"/>
                </a:lnTo>
                <a:lnTo>
                  <a:pt x="424" y="1650"/>
                </a:lnTo>
                <a:lnTo>
                  <a:pt x="426" y="1655"/>
                </a:lnTo>
                <a:lnTo>
                  <a:pt x="427" y="1658"/>
                </a:lnTo>
                <a:lnTo>
                  <a:pt x="427" y="1659"/>
                </a:lnTo>
                <a:lnTo>
                  <a:pt x="428" y="1659"/>
                </a:lnTo>
                <a:lnTo>
                  <a:pt x="428" y="1659"/>
                </a:lnTo>
                <a:lnTo>
                  <a:pt x="428" y="1659"/>
                </a:lnTo>
                <a:lnTo>
                  <a:pt x="428" y="1659"/>
                </a:lnTo>
                <a:lnTo>
                  <a:pt x="428" y="1659"/>
                </a:lnTo>
                <a:lnTo>
                  <a:pt x="428" y="1659"/>
                </a:lnTo>
                <a:lnTo>
                  <a:pt x="430" y="1659"/>
                </a:lnTo>
                <a:lnTo>
                  <a:pt x="430" y="1659"/>
                </a:lnTo>
                <a:lnTo>
                  <a:pt x="430" y="1659"/>
                </a:lnTo>
                <a:lnTo>
                  <a:pt x="430" y="1659"/>
                </a:lnTo>
                <a:lnTo>
                  <a:pt x="432" y="1662"/>
                </a:lnTo>
                <a:lnTo>
                  <a:pt x="431" y="1661"/>
                </a:lnTo>
                <a:lnTo>
                  <a:pt x="431" y="1659"/>
                </a:lnTo>
                <a:lnTo>
                  <a:pt x="434" y="1658"/>
                </a:lnTo>
                <a:lnTo>
                  <a:pt x="434" y="1658"/>
                </a:lnTo>
                <a:lnTo>
                  <a:pt x="435" y="1658"/>
                </a:lnTo>
                <a:lnTo>
                  <a:pt x="435" y="1659"/>
                </a:lnTo>
                <a:lnTo>
                  <a:pt x="434" y="1659"/>
                </a:lnTo>
                <a:lnTo>
                  <a:pt x="432" y="1659"/>
                </a:lnTo>
                <a:lnTo>
                  <a:pt x="432" y="1659"/>
                </a:lnTo>
                <a:lnTo>
                  <a:pt x="432" y="1661"/>
                </a:lnTo>
                <a:lnTo>
                  <a:pt x="434" y="1662"/>
                </a:lnTo>
                <a:lnTo>
                  <a:pt x="435" y="1662"/>
                </a:lnTo>
                <a:lnTo>
                  <a:pt x="435" y="1663"/>
                </a:lnTo>
                <a:lnTo>
                  <a:pt x="437" y="1663"/>
                </a:lnTo>
                <a:lnTo>
                  <a:pt x="438" y="1663"/>
                </a:lnTo>
                <a:lnTo>
                  <a:pt x="438" y="1662"/>
                </a:lnTo>
                <a:lnTo>
                  <a:pt x="439" y="1662"/>
                </a:lnTo>
                <a:lnTo>
                  <a:pt x="439" y="1662"/>
                </a:lnTo>
                <a:lnTo>
                  <a:pt x="439" y="1663"/>
                </a:lnTo>
                <a:lnTo>
                  <a:pt x="439" y="1663"/>
                </a:lnTo>
                <a:lnTo>
                  <a:pt x="439" y="1665"/>
                </a:lnTo>
                <a:lnTo>
                  <a:pt x="439" y="1665"/>
                </a:lnTo>
                <a:lnTo>
                  <a:pt x="435" y="1663"/>
                </a:lnTo>
                <a:lnTo>
                  <a:pt x="434" y="1665"/>
                </a:lnTo>
                <a:lnTo>
                  <a:pt x="435" y="1666"/>
                </a:lnTo>
                <a:lnTo>
                  <a:pt x="437" y="1667"/>
                </a:lnTo>
                <a:lnTo>
                  <a:pt x="437" y="1669"/>
                </a:lnTo>
                <a:lnTo>
                  <a:pt x="437" y="1669"/>
                </a:lnTo>
                <a:lnTo>
                  <a:pt x="438" y="1669"/>
                </a:lnTo>
                <a:lnTo>
                  <a:pt x="438" y="1669"/>
                </a:lnTo>
                <a:lnTo>
                  <a:pt x="446" y="1677"/>
                </a:lnTo>
                <a:lnTo>
                  <a:pt x="447" y="1678"/>
                </a:lnTo>
                <a:lnTo>
                  <a:pt x="452" y="1686"/>
                </a:lnTo>
                <a:lnTo>
                  <a:pt x="450" y="1688"/>
                </a:lnTo>
                <a:lnTo>
                  <a:pt x="452" y="1689"/>
                </a:lnTo>
                <a:lnTo>
                  <a:pt x="452" y="1691"/>
                </a:lnTo>
                <a:lnTo>
                  <a:pt x="453" y="1692"/>
                </a:lnTo>
                <a:lnTo>
                  <a:pt x="453" y="1692"/>
                </a:lnTo>
                <a:lnTo>
                  <a:pt x="454" y="1692"/>
                </a:lnTo>
                <a:lnTo>
                  <a:pt x="454" y="1692"/>
                </a:lnTo>
                <a:lnTo>
                  <a:pt x="456" y="1693"/>
                </a:lnTo>
                <a:lnTo>
                  <a:pt x="457" y="1693"/>
                </a:lnTo>
                <a:lnTo>
                  <a:pt x="457" y="1695"/>
                </a:lnTo>
                <a:lnTo>
                  <a:pt x="458" y="1697"/>
                </a:lnTo>
                <a:lnTo>
                  <a:pt x="460" y="1699"/>
                </a:lnTo>
                <a:lnTo>
                  <a:pt x="460" y="1699"/>
                </a:lnTo>
                <a:lnTo>
                  <a:pt x="461" y="1699"/>
                </a:lnTo>
                <a:lnTo>
                  <a:pt x="460" y="1700"/>
                </a:lnTo>
                <a:lnTo>
                  <a:pt x="460" y="1700"/>
                </a:lnTo>
                <a:lnTo>
                  <a:pt x="460" y="1700"/>
                </a:lnTo>
                <a:lnTo>
                  <a:pt x="460" y="1701"/>
                </a:lnTo>
                <a:lnTo>
                  <a:pt x="460" y="1701"/>
                </a:lnTo>
                <a:lnTo>
                  <a:pt x="461" y="1701"/>
                </a:lnTo>
                <a:lnTo>
                  <a:pt x="466" y="1715"/>
                </a:lnTo>
                <a:lnTo>
                  <a:pt x="469" y="1725"/>
                </a:lnTo>
                <a:lnTo>
                  <a:pt x="469" y="1730"/>
                </a:lnTo>
                <a:lnTo>
                  <a:pt x="471" y="1733"/>
                </a:lnTo>
                <a:lnTo>
                  <a:pt x="472" y="1733"/>
                </a:lnTo>
                <a:lnTo>
                  <a:pt x="472" y="1734"/>
                </a:lnTo>
                <a:lnTo>
                  <a:pt x="472" y="1734"/>
                </a:lnTo>
                <a:lnTo>
                  <a:pt x="471" y="1734"/>
                </a:lnTo>
                <a:lnTo>
                  <a:pt x="472" y="1735"/>
                </a:lnTo>
                <a:lnTo>
                  <a:pt x="472" y="1735"/>
                </a:lnTo>
                <a:lnTo>
                  <a:pt x="472" y="1735"/>
                </a:lnTo>
                <a:lnTo>
                  <a:pt x="472" y="1737"/>
                </a:lnTo>
                <a:lnTo>
                  <a:pt x="472" y="1737"/>
                </a:lnTo>
                <a:lnTo>
                  <a:pt x="476" y="1745"/>
                </a:lnTo>
                <a:lnTo>
                  <a:pt x="476" y="1748"/>
                </a:lnTo>
                <a:lnTo>
                  <a:pt x="477" y="1748"/>
                </a:lnTo>
                <a:lnTo>
                  <a:pt x="479" y="1749"/>
                </a:lnTo>
                <a:lnTo>
                  <a:pt x="479" y="1750"/>
                </a:lnTo>
                <a:lnTo>
                  <a:pt x="480" y="1753"/>
                </a:lnTo>
                <a:lnTo>
                  <a:pt x="480" y="1754"/>
                </a:lnTo>
                <a:lnTo>
                  <a:pt x="480" y="1756"/>
                </a:lnTo>
                <a:lnTo>
                  <a:pt x="483" y="1759"/>
                </a:lnTo>
                <a:lnTo>
                  <a:pt x="483" y="1760"/>
                </a:lnTo>
                <a:lnTo>
                  <a:pt x="484" y="1765"/>
                </a:lnTo>
                <a:lnTo>
                  <a:pt x="486" y="1768"/>
                </a:lnTo>
                <a:lnTo>
                  <a:pt x="486" y="1769"/>
                </a:lnTo>
                <a:lnTo>
                  <a:pt x="487" y="1769"/>
                </a:lnTo>
                <a:lnTo>
                  <a:pt x="487" y="1769"/>
                </a:lnTo>
                <a:lnTo>
                  <a:pt x="488" y="1769"/>
                </a:lnTo>
                <a:lnTo>
                  <a:pt x="488" y="1768"/>
                </a:lnTo>
                <a:lnTo>
                  <a:pt x="488" y="1767"/>
                </a:lnTo>
                <a:lnTo>
                  <a:pt x="488" y="1765"/>
                </a:lnTo>
                <a:lnTo>
                  <a:pt x="488" y="1765"/>
                </a:lnTo>
                <a:lnTo>
                  <a:pt x="488" y="1767"/>
                </a:lnTo>
                <a:lnTo>
                  <a:pt x="490" y="1767"/>
                </a:lnTo>
                <a:lnTo>
                  <a:pt x="490" y="1767"/>
                </a:lnTo>
                <a:lnTo>
                  <a:pt x="490" y="1767"/>
                </a:lnTo>
                <a:lnTo>
                  <a:pt x="491" y="1767"/>
                </a:lnTo>
                <a:lnTo>
                  <a:pt x="491" y="1768"/>
                </a:lnTo>
                <a:lnTo>
                  <a:pt x="491" y="1768"/>
                </a:lnTo>
                <a:lnTo>
                  <a:pt x="491" y="1768"/>
                </a:lnTo>
                <a:lnTo>
                  <a:pt x="491" y="1768"/>
                </a:lnTo>
                <a:lnTo>
                  <a:pt x="490" y="1769"/>
                </a:lnTo>
                <a:lnTo>
                  <a:pt x="487" y="1771"/>
                </a:lnTo>
                <a:lnTo>
                  <a:pt x="487" y="1772"/>
                </a:lnTo>
                <a:lnTo>
                  <a:pt x="487" y="1772"/>
                </a:lnTo>
                <a:lnTo>
                  <a:pt x="487" y="1773"/>
                </a:lnTo>
                <a:lnTo>
                  <a:pt x="487" y="1773"/>
                </a:lnTo>
                <a:lnTo>
                  <a:pt x="487" y="1775"/>
                </a:lnTo>
                <a:lnTo>
                  <a:pt x="490" y="1780"/>
                </a:lnTo>
                <a:lnTo>
                  <a:pt x="490" y="1782"/>
                </a:lnTo>
                <a:lnTo>
                  <a:pt x="491" y="1782"/>
                </a:lnTo>
                <a:lnTo>
                  <a:pt x="490" y="1782"/>
                </a:lnTo>
                <a:lnTo>
                  <a:pt x="490" y="1780"/>
                </a:lnTo>
                <a:lnTo>
                  <a:pt x="490" y="1778"/>
                </a:lnTo>
                <a:lnTo>
                  <a:pt x="490" y="1776"/>
                </a:lnTo>
                <a:lnTo>
                  <a:pt x="488" y="1775"/>
                </a:lnTo>
                <a:lnTo>
                  <a:pt x="488" y="1775"/>
                </a:lnTo>
                <a:lnTo>
                  <a:pt x="490" y="1773"/>
                </a:lnTo>
                <a:lnTo>
                  <a:pt x="490" y="1775"/>
                </a:lnTo>
                <a:lnTo>
                  <a:pt x="490" y="1775"/>
                </a:lnTo>
                <a:lnTo>
                  <a:pt x="491" y="1775"/>
                </a:lnTo>
                <a:lnTo>
                  <a:pt x="491" y="1775"/>
                </a:lnTo>
                <a:lnTo>
                  <a:pt x="491" y="1779"/>
                </a:lnTo>
                <a:lnTo>
                  <a:pt x="492" y="1779"/>
                </a:lnTo>
                <a:lnTo>
                  <a:pt x="492" y="1780"/>
                </a:lnTo>
                <a:lnTo>
                  <a:pt x="492" y="1783"/>
                </a:lnTo>
                <a:lnTo>
                  <a:pt x="494" y="1784"/>
                </a:lnTo>
                <a:lnTo>
                  <a:pt x="495" y="1783"/>
                </a:lnTo>
                <a:lnTo>
                  <a:pt x="495" y="1784"/>
                </a:lnTo>
                <a:lnTo>
                  <a:pt x="498" y="1787"/>
                </a:lnTo>
                <a:lnTo>
                  <a:pt x="498" y="1787"/>
                </a:lnTo>
                <a:lnTo>
                  <a:pt x="499" y="1790"/>
                </a:lnTo>
                <a:lnTo>
                  <a:pt x="500" y="1791"/>
                </a:lnTo>
                <a:lnTo>
                  <a:pt x="500" y="1793"/>
                </a:lnTo>
                <a:lnTo>
                  <a:pt x="499" y="1793"/>
                </a:lnTo>
                <a:lnTo>
                  <a:pt x="499" y="1794"/>
                </a:lnTo>
                <a:lnTo>
                  <a:pt x="499" y="1794"/>
                </a:lnTo>
                <a:lnTo>
                  <a:pt x="499" y="1795"/>
                </a:lnTo>
                <a:lnTo>
                  <a:pt x="499" y="1797"/>
                </a:lnTo>
                <a:lnTo>
                  <a:pt x="500" y="1797"/>
                </a:lnTo>
                <a:lnTo>
                  <a:pt x="500" y="1798"/>
                </a:lnTo>
                <a:lnTo>
                  <a:pt x="499" y="1798"/>
                </a:lnTo>
                <a:lnTo>
                  <a:pt x="500" y="1799"/>
                </a:lnTo>
                <a:lnTo>
                  <a:pt x="500" y="1799"/>
                </a:lnTo>
                <a:lnTo>
                  <a:pt x="500" y="1799"/>
                </a:lnTo>
                <a:lnTo>
                  <a:pt x="500" y="1801"/>
                </a:lnTo>
                <a:lnTo>
                  <a:pt x="500" y="1803"/>
                </a:lnTo>
                <a:lnTo>
                  <a:pt x="502" y="1805"/>
                </a:lnTo>
                <a:lnTo>
                  <a:pt x="502" y="1806"/>
                </a:lnTo>
                <a:lnTo>
                  <a:pt x="500" y="1807"/>
                </a:lnTo>
                <a:lnTo>
                  <a:pt x="502" y="1807"/>
                </a:lnTo>
                <a:lnTo>
                  <a:pt x="502" y="1809"/>
                </a:lnTo>
                <a:lnTo>
                  <a:pt x="503" y="1807"/>
                </a:lnTo>
                <a:lnTo>
                  <a:pt x="505" y="1809"/>
                </a:lnTo>
                <a:lnTo>
                  <a:pt x="506" y="1809"/>
                </a:lnTo>
                <a:lnTo>
                  <a:pt x="506" y="1809"/>
                </a:lnTo>
                <a:lnTo>
                  <a:pt x="505" y="1812"/>
                </a:lnTo>
                <a:lnTo>
                  <a:pt x="503" y="1812"/>
                </a:lnTo>
                <a:lnTo>
                  <a:pt x="502" y="1812"/>
                </a:lnTo>
                <a:lnTo>
                  <a:pt x="502" y="1812"/>
                </a:lnTo>
                <a:lnTo>
                  <a:pt x="499" y="1810"/>
                </a:lnTo>
                <a:lnTo>
                  <a:pt x="498" y="1810"/>
                </a:lnTo>
                <a:lnTo>
                  <a:pt x="498" y="1809"/>
                </a:lnTo>
                <a:lnTo>
                  <a:pt x="499" y="1803"/>
                </a:lnTo>
                <a:lnTo>
                  <a:pt x="499" y="1803"/>
                </a:lnTo>
                <a:lnTo>
                  <a:pt x="499" y="1802"/>
                </a:lnTo>
                <a:lnTo>
                  <a:pt x="499" y="1802"/>
                </a:lnTo>
                <a:lnTo>
                  <a:pt x="500" y="1801"/>
                </a:lnTo>
                <a:lnTo>
                  <a:pt x="499" y="1799"/>
                </a:lnTo>
                <a:lnTo>
                  <a:pt x="498" y="1798"/>
                </a:lnTo>
                <a:lnTo>
                  <a:pt x="498" y="1795"/>
                </a:lnTo>
                <a:lnTo>
                  <a:pt x="498" y="1794"/>
                </a:lnTo>
                <a:lnTo>
                  <a:pt x="498" y="1794"/>
                </a:lnTo>
                <a:lnTo>
                  <a:pt x="498" y="1793"/>
                </a:lnTo>
                <a:lnTo>
                  <a:pt x="498" y="1791"/>
                </a:lnTo>
                <a:lnTo>
                  <a:pt x="496" y="1790"/>
                </a:lnTo>
                <a:lnTo>
                  <a:pt x="496" y="1790"/>
                </a:lnTo>
                <a:lnTo>
                  <a:pt x="495" y="1790"/>
                </a:lnTo>
                <a:lnTo>
                  <a:pt x="495" y="1791"/>
                </a:lnTo>
                <a:lnTo>
                  <a:pt x="496" y="1793"/>
                </a:lnTo>
                <a:lnTo>
                  <a:pt x="496" y="1794"/>
                </a:lnTo>
                <a:lnTo>
                  <a:pt x="496" y="1798"/>
                </a:lnTo>
                <a:lnTo>
                  <a:pt x="496" y="1799"/>
                </a:lnTo>
                <a:lnTo>
                  <a:pt x="496" y="1799"/>
                </a:lnTo>
                <a:lnTo>
                  <a:pt x="495" y="1790"/>
                </a:lnTo>
                <a:lnTo>
                  <a:pt x="495" y="1788"/>
                </a:lnTo>
                <a:lnTo>
                  <a:pt x="494" y="1790"/>
                </a:lnTo>
                <a:lnTo>
                  <a:pt x="495" y="1790"/>
                </a:lnTo>
                <a:lnTo>
                  <a:pt x="494" y="1791"/>
                </a:lnTo>
                <a:lnTo>
                  <a:pt x="494" y="1791"/>
                </a:lnTo>
                <a:lnTo>
                  <a:pt x="492" y="1791"/>
                </a:lnTo>
                <a:lnTo>
                  <a:pt x="494" y="1791"/>
                </a:lnTo>
                <a:lnTo>
                  <a:pt x="494" y="1790"/>
                </a:lnTo>
                <a:lnTo>
                  <a:pt x="494" y="1788"/>
                </a:lnTo>
                <a:lnTo>
                  <a:pt x="494" y="1788"/>
                </a:lnTo>
                <a:lnTo>
                  <a:pt x="492" y="1788"/>
                </a:lnTo>
                <a:lnTo>
                  <a:pt x="492" y="1790"/>
                </a:lnTo>
                <a:lnTo>
                  <a:pt x="492" y="1788"/>
                </a:lnTo>
                <a:lnTo>
                  <a:pt x="492" y="1788"/>
                </a:lnTo>
                <a:lnTo>
                  <a:pt x="491" y="1787"/>
                </a:lnTo>
                <a:lnTo>
                  <a:pt x="491" y="1787"/>
                </a:lnTo>
                <a:lnTo>
                  <a:pt x="492" y="1787"/>
                </a:lnTo>
                <a:lnTo>
                  <a:pt x="494" y="1787"/>
                </a:lnTo>
                <a:lnTo>
                  <a:pt x="494" y="1787"/>
                </a:lnTo>
                <a:lnTo>
                  <a:pt x="494" y="1786"/>
                </a:lnTo>
                <a:lnTo>
                  <a:pt x="492" y="1784"/>
                </a:lnTo>
                <a:lnTo>
                  <a:pt x="491" y="1783"/>
                </a:lnTo>
                <a:lnTo>
                  <a:pt x="491" y="1784"/>
                </a:lnTo>
                <a:lnTo>
                  <a:pt x="491" y="1784"/>
                </a:lnTo>
                <a:lnTo>
                  <a:pt x="491" y="1788"/>
                </a:lnTo>
                <a:lnTo>
                  <a:pt x="491" y="1788"/>
                </a:lnTo>
                <a:lnTo>
                  <a:pt x="492" y="1793"/>
                </a:lnTo>
                <a:lnTo>
                  <a:pt x="494" y="1802"/>
                </a:lnTo>
                <a:lnTo>
                  <a:pt x="494" y="1803"/>
                </a:lnTo>
                <a:lnTo>
                  <a:pt x="495" y="1812"/>
                </a:lnTo>
                <a:lnTo>
                  <a:pt x="498" y="1822"/>
                </a:lnTo>
                <a:lnTo>
                  <a:pt x="503" y="1833"/>
                </a:lnTo>
                <a:lnTo>
                  <a:pt x="503" y="1833"/>
                </a:lnTo>
                <a:lnTo>
                  <a:pt x="503" y="1832"/>
                </a:lnTo>
                <a:lnTo>
                  <a:pt x="502" y="1828"/>
                </a:lnTo>
                <a:lnTo>
                  <a:pt x="500" y="1827"/>
                </a:lnTo>
                <a:lnTo>
                  <a:pt x="502" y="1827"/>
                </a:lnTo>
                <a:lnTo>
                  <a:pt x="503" y="1829"/>
                </a:lnTo>
                <a:lnTo>
                  <a:pt x="505" y="1832"/>
                </a:lnTo>
                <a:lnTo>
                  <a:pt x="505" y="1832"/>
                </a:lnTo>
                <a:lnTo>
                  <a:pt x="505" y="1832"/>
                </a:lnTo>
                <a:lnTo>
                  <a:pt x="505" y="1832"/>
                </a:lnTo>
                <a:lnTo>
                  <a:pt x="505" y="1832"/>
                </a:lnTo>
                <a:lnTo>
                  <a:pt x="505" y="1833"/>
                </a:lnTo>
                <a:lnTo>
                  <a:pt x="505" y="1835"/>
                </a:lnTo>
                <a:lnTo>
                  <a:pt x="505" y="1835"/>
                </a:lnTo>
                <a:lnTo>
                  <a:pt x="505" y="1835"/>
                </a:lnTo>
                <a:lnTo>
                  <a:pt x="505" y="1833"/>
                </a:lnTo>
                <a:lnTo>
                  <a:pt x="505" y="1833"/>
                </a:lnTo>
                <a:lnTo>
                  <a:pt x="505" y="1833"/>
                </a:lnTo>
                <a:lnTo>
                  <a:pt x="503" y="1835"/>
                </a:lnTo>
                <a:lnTo>
                  <a:pt x="506" y="1839"/>
                </a:lnTo>
                <a:lnTo>
                  <a:pt x="506" y="1840"/>
                </a:lnTo>
                <a:lnTo>
                  <a:pt x="507" y="1841"/>
                </a:lnTo>
                <a:lnTo>
                  <a:pt x="507" y="1843"/>
                </a:lnTo>
                <a:lnTo>
                  <a:pt x="507" y="1843"/>
                </a:lnTo>
                <a:lnTo>
                  <a:pt x="507" y="1844"/>
                </a:lnTo>
                <a:lnTo>
                  <a:pt x="509" y="1846"/>
                </a:lnTo>
                <a:lnTo>
                  <a:pt x="509" y="1846"/>
                </a:lnTo>
                <a:lnTo>
                  <a:pt x="509" y="1844"/>
                </a:lnTo>
                <a:lnTo>
                  <a:pt x="509" y="1843"/>
                </a:lnTo>
                <a:lnTo>
                  <a:pt x="509" y="1843"/>
                </a:lnTo>
                <a:lnTo>
                  <a:pt x="510" y="1841"/>
                </a:lnTo>
                <a:lnTo>
                  <a:pt x="510" y="1843"/>
                </a:lnTo>
                <a:lnTo>
                  <a:pt x="510" y="1843"/>
                </a:lnTo>
                <a:lnTo>
                  <a:pt x="510" y="1844"/>
                </a:lnTo>
                <a:lnTo>
                  <a:pt x="510" y="1844"/>
                </a:lnTo>
                <a:lnTo>
                  <a:pt x="510" y="1844"/>
                </a:lnTo>
                <a:lnTo>
                  <a:pt x="511" y="1841"/>
                </a:lnTo>
                <a:lnTo>
                  <a:pt x="511" y="1841"/>
                </a:lnTo>
                <a:lnTo>
                  <a:pt x="513" y="1843"/>
                </a:lnTo>
                <a:lnTo>
                  <a:pt x="514" y="1843"/>
                </a:lnTo>
                <a:lnTo>
                  <a:pt x="514" y="1841"/>
                </a:lnTo>
                <a:lnTo>
                  <a:pt x="514" y="1841"/>
                </a:lnTo>
                <a:lnTo>
                  <a:pt x="515" y="1841"/>
                </a:lnTo>
                <a:lnTo>
                  <a:pt x="515" y="1841"/>
                </a:lnTo>
                <a:lnTo>
                  <a:pt x="517" y="1841"/>
                </a:lnTo>
                <a:lnTo>
                  <a:pt x="517" y="1841"/>
                </a:lnTo>
                <a:lnTo>
                  <a:pt x="515" y="1841"/>
                </a:lnTo>
                <a:lnTo>
                  <a:pt x="515" y="1843"/>
                </a:lnTo>
                <a:lnTo>
                  <a:pt x="514" y="1843"/>
                </a:lnTo>
                <a:lnTo>
                  <a:pt x="514" y="1843"/>
                </a:lnTo>
                <a:lnTo>
                  <a:pt x="515" y="1843"/>
                </a:lnTo>
                <a:lnTo>
                  <a:pt x="515" y="1844"/>
                </a:lnTo>
                <a:lnTo>
                  <a:pt x="515" y="1844"/>
                </a:lnTo>
                <a:lnTo>
                  <a:pt x="513" y="1843"/>
                </a:lnTo>
                <a:lnTo>
                  <a:pt x="511" y="1844"/>
                </a:lnTo>
                <a:lnTo>
                  <a:pt x="511" y="1844"/>
                </a:lnTo>
                <a:lnTo>
                  <a:pt x="511" y="1846"/>
                </a:lnTo>
                <a:lnTo>
                  <a:pt x="510" y="1846"/>
                </a:lnTo>
                <a:lnTo>
                  <a:pt x="511" y="1847"/>
                </a:lnTo>
                <a:lnTo>
                  <a:pt x="511" y="1847"/>
                </a:lnTo>
                <a:lnTo>
                  <a:pt x="513" y="1846"/>
                </a:lnTo>
                <a:lnTo>
                  <a:pt x="514" y="1847"/>
                </a:lnTo>
                <a:lnTo>
                  <a:pt x="513" y="1847"/>
                </a:lnTo>
                <a:lnTo>
                  <a:pt x="511" y="1847"/>
                </a:lnTo>
                <a:lnTo>
                  <a:pt x="510" y="1847"/>
                </a:lnTo>
                <a:lnTo>
                  <a:pt x="510" y="1847"/>
                </a:lnTo>
                <a:lnTo>
                  <a:pt x="509" y="1847"/>
                </a:lnTo>
                <a:lnTo>
                  <a:pt x="509" y="1847"/>
                </a:lnTo>
                <a:lnTo>
                  <a:pt x="510" y="1848"/>
                </a:lnTo>
                <a:lnTo>
                  <a:pt x="515" y="1852"/>
                </a:lnTo>
                <a:lnTo>
                  <a:pt x="515" y="1854"/>
                </a:lnTo>
                <a:lnTo>
                  <a:pt x="518" y="1858"/>
                </a:lnTo>
                <a:lnTo>
                  <a:pt x="521" y="1859"/>
                </a:lnTo>
                <a:lnTo>
                  <a:pt x="521" y="1861"/>
                </a:lnTo>
                <a:lnTo>
                  <a:pt x="525" y="1866"/>
                </a:lnTo>
                <a:lnTo>
                  <a:pt x="526" y="1867"/>
                </a:lnTo>
                <a:lnTo>
                  <a:pt x="529" y="1870"/>
                </a:lnTo>
                <a:lnTo>
                  <a:pt x="534" y="1878"/>
                </a:lnTo>
                <a:lnTo>
                  <a:pt x="536" y="1880"/>
                </a:lnTo>
                <a:lnTo>
                  <a:pt x="543" y="1885"/>
                </a:lnTo>
                <a:lnTo>
                  <a:pt x="544" y="1885"/>
                </a:lnTo>
                <a:lnTo>
                  <a:pt x="551" y="1890"/>
                </a:lnTo>
                <a:lnTo>
                  <a:pt x="551" y="1892"/>
                </a:lnTo>
                <a:lnTo>
                  <a:pt x="552" y="1892"/>
                </a:lnTo>
                <a:lnTo>
                  <a:pt x="554" y="1893"/>
                </a:lnTo>
                <a:lnTo>
                  <a:pt x="555" y="1893"/>
                </a:lnTo>
                <a:lnTo>
                  <a:pt x="555" y="1895"/>
                </a:lnTo>
                <a:lnTo>
                  <a:pt x="556" y="1895"/>
                </a:lnTo>
                <a:lnTo>
                  <a:pt x="564" y="1897"/>
                </a:lnTo>
                <a:lnTo>
                  <a:pt x="567" y="1897"/>
                </a:lnTo>
                <a:lnTo>
                  <a:pt x="571" y="1897"/>
                </a:lnTo>
                <a:lnTo>
                  <a:pt x="570" y="1895"/>
                </a:lnTo>
                <a:lnTo>
                  <a:pt x="573" y="1893"/>
                </a:lnTo>
                <a:lnTo>
                  <a:pt x="575" y="1893"/>
                </a:lnTo>
                <a:lnTo>
                  <a:pt x="582" y="1892"/>
                </a:lnTo>
                <a:lnTo>
                  <a:pt x="583" y="1890"/>
                </a:lnTo>
                <a:lnTo>
                  <a:pt x="585" y="1889"/>
                </a:lnTo>
                <a:lnTo>
                  <a:pt x="585" y="1888"/>
                </a:lnTo>
                <a:lnTo>
                  <a:pt x="597" y="1881"/>
                </a:lnTo>
                <a:lnTo>
                  <a:pt x="600" y="1881"/>
                </a:lnTo>
                <a:lnTo>
                  <a:pt x="601" y="1880"/>
                </a:lnTo>
                <a:lnTo>
                  <a:pt x="601" y="1880"/>
                </a:lnTo>
                <a:lnTo>
                  <a:pt x="602" y="1875"/>
                </a:lnTo>
                <a:lnTo>
                  <a:pt x="602" y="1875"/>
                </a:lnTo>
                <a:lnTo>
                  <a:pt x="604" y="1874"/>
                </a:lnTo>
                <a:lnTo>
                  <a:pt x="605" y="1873"/>
                </a:lnTo>
                <a:lnTo>
                  <a:pt x="605" y="1873"/>
                </a:lnTo>
                <a:lnTo>
                  <a:pt x="605" y="1866"/>
                </a:lnTo>
                <a:lnTo>
                  <a:pt x="605" y="1865"/>
                </a:lnTo>
                <a:lnTo>
                  <a:pt x="604" y="1862"/>
                </a:lnTo>
                <a:lnTo>
                  <a:pt x="605" y="1862"/>
                </a:lnTo>
                <a:lnTo>
                  <a:pt x="605" y="1862"/>
                </a:lnTo>
                <a:lnTo>
                  <a:pt x="605" y="1861"/>
                </a:lnTo>
                <a:lnTo>
                  <a:pt x="607" y="1861"/>
                </a:lnTo>
                <a:lnTo>
                  <a:pt x="607" y="1858"/>
                </a:lnTo>
                <a:lnTo>
                  <a:pt x="608" y="1858"/>
                </a:lnTo>
                <a:lnTo>
                  <a:pt x="608" y="1858"/>
                </a:lnTo>
                <a:lnTo>
                  <a:pt x="609" y="1856"/>
                </a:lnTo>
                <a:lnTo>
                  <a:pt x="611" y="1856"/>
                </a:lnTo>
                <a:lnTo>
                  <a:pt x="609" y="1855"/>
                </a:lnTo>
                <a:lnTo>
                  <a:pt x="609" y="1855"/>
                </a:lnTo>
                <a:lnTo>
                  <a:pt x="608" y="1856"/>
                </a:lnTo>
                <a:lnTo>
                  <a:pt x="608" y="1856"/>
                </a:lnTo>
                <a:lnTo>
                  <a:pt x="607" y="1856"/>
                </a:lnTo>
                <a:lnTo>
                  <a:pt x="608" y="1855"/>
                </a:lnTo>
                <a:lnTo>
                  <a:pt x="608" y="1854"/>
                </a:lnTo>
                <a:lnTo>
                  <a:pt x="608" y="1850"/>
                </a:lnTo>
                <a:lnTo>
                  <a:pt x="608" y="1850"/>
                </a:lnTo>
                <a:lnTo>
                  <a:pt x="611" y="1846"/>
                </a:lnTo>
                <a:lnTo>
                  <a:pt x="612" y="1844"/>
                </a:lnTo>
                <a:lnTo>
                  <a:pt x="620" y="1837"/>
                </a:lnTo>
                <a:lnTo>
                  <a:pt x="622" y="1836"/>
                </a:lnTo>
                <a:lnTo>
                  <a:pt x="624" y="1835"/>
                </a:lnTo>
                <a:lnTo>
                  <a:pt x="627" y="1835"/>
                </a:lnTo>
                <a:lnTo>
                  <a:pt x="635" y="1833"/>
                </a:lnTo>
                <a:lnTo>
                  <a:pt x="635" y="1833"/>
                </a:lnTo>
                <a:lnTo>
                  <a:pt x="636" y="1832"/>
                </a:lnTo>
                <a:lnTo>
                  <a:pt x="636" y="1832"/>
                </a:lnTo>
                <a:lnTo>
                  <a:pt x="636" y="1831"/>
                </a:lnTo>
                <a:lnTo>
                  <a:pt x="638" y="1831"/>
                </a:lnTo>
                <a:lnTo>
                  <a:pt x="641" y="1831"/>
                </a:lnTo>
                <a:lnTo>
                  <a:pt x="642" y="1831"/>
                </a:lnTo>
                <a:lnTo>
                  <a:pt x="642" y="1829"/>
                </a:lnTo>
                <a:lnTo>
                  <a:pt x="643" y="1829"/>
                </a:lnTo>
                <a:lnTo>
                  <a:pt x="645" y="1828"/>
                </a:lnTo>
                <a:lnTo>
                  <a:pt x="646" y="1828"/>
                </a:lnTo>
                <a:lnTo>
                  <a:pt x="649" y="1827"/>
                </a:lnTo>
                <a:lnTo>
                  <a:pt x="649" y="1827"/>
                </a:lnTo>
                <a:lnTo>
                  <a:pt x="651" y="1827"/>
                </a:lnTo>
                <a:lnTo>
                  <a:pt x="651" y="1827"/>
                </a:lnTo>
                <a:lnTo>
                  <a:pt x="653" y="1827"/>
                </a:lnTo>
                <a:lnTo>
                  <a:pt x="653" y="1827"/>
                </a:lnTo>
                <a:lnTo>
                  <a:pt x="653" y="1827"/>
                </a:lnTo>
                <a:lnTo>
                  <a:pt x="654" y="1825"/>
                </a:lnTo>
                <a:lnTo>
                  <a:pt x="656" y="1825"/>
                </a:lnTo>
                <a:lnTo>
                  <a:pt x="657" y="1825"/>
                </a:lnTo>
                <a:lnTo>
                  <a:pt x="660" y="1825"/>
                </a:lnTo>
                <a:lnTo>
                  <a:pt x="661" y="1825"/>
                </a:lnTo>
                <a:lnTo>
                  <a:pt x="662" y="1827"/>
                </a:lnTo>
                <a:lnTo>
                  <a:pt x="664" y="1827"/>
                </a:lnTo>
                <a:lnTo>
                  <a:pt x="665" y="1827"/>
                </a:lnTo>
                <a:lnTo>
                  <a:pt x="668" y="1825"/>
                </a:lnTo>
                <a:lnTo>
                  <a:pt x="669" y="1825"/>
                </a:lnTo>
                <a:lnTo>
                  <a:pt x="669" y="1825"/>
                </a:lnTo>
                <a:lnTo>
                  <a:pt x="671" y="1825"/>
                </a:lnTo>
                <a:lnTo>
                  <a:pt x="672" y="1827"/>
                </a:lnTo>
                <a:lnTo>
                  <a:pt x="676" y="1827"/>
                </a:lnTo>
                <a:lnTo>
                  <a:pt x="680" y="1829"/>
                </a:lnTo>
                <a:lnTo>
                  <a:pt x="683" y="1832"/>
                </a:lnTo>
                <a:lnTo>
                  <a:pt x="684" y="1832"/>
                </a:lnTo>
                <a:lnTo>
                  <a:pt x="685" y="1832"/>
                </a:lnTo>
                <a:lnTo>
                  <a:pt x="684" y="1831"/>
                </a:lnTo>
                <a:lnTo>
                  <a:pt x="680" y="1828"/>
                </a:lnTo>
                <a:lnTo>
                  <a:pt x="679" y="1828"/>
                </a:lnTo>
                <a:lnTo>
                  <a:pt x="679" y="1827"/>
                </a:lnTo>
                <a:lnTo>
                  <a:pt x="679" y="1827"/>
                </a:lnTo>
                <a:lnTo>
                  <a:pt x="679" y="1827"/>
                </a:lnTo>
                <a:lnTo>
                  <a:pt x="677" y="1825"/>
                </a:lnTo>
                <a:lnTo>
                  <a:pt x="677" y="1825"/>
                </a:lnTo>
                <a:lnTo>
                  <a:pt x="679" y="1824"/>
                </a:lnTo>
                <a:lnTo>
                  <a:pt x="679" y="1824"/>
                </a:lnTo>
                <a:lnTo>
                  <a:pt x="679" y="1824"/>
                </a:lnTo>
                <a:lnTo>
                  <a:pt x="679" y="1822"/>
                </a:lnTo>
                <a:lnTo>
                  <a:pt x="677" y="1822"/>
                </a:lnTo>
                <a:lnTo>
                  <a:pt x="676" y="1822"/>
                </a:lnTo>
                <a:lnTo>
                  <a:pt x="675" y="1824"/>
                </a:lnTo>
                <a:lnTo>
                  <a:pt x="673" y="1824"/>
                </a:lnTo>
                <a:lnTo>
                  <a:pt x="665" y="1824"/>
                </a:lnTo>
                <a:lnTo>
                  <a:pt x="662" y="1824"/>
                </a:lnTo>
                <a:lnTo>
                  <a:pt x="660" y="1822"/>
                </a:lnTo>
                <a:lnTo>
                  <a:pt x="656" y="1818"/>
                </a:lnTo>
                <a:lnTo>
                  <a:pt x="654" y="1817"/>
                </a:lnTo>
                <a:lnTo>
                  <a:pt x="653" y="1814"/>
                </a:lnTo>
                <a:lnTo>
                  <a:pt x="653" y="1813"/>
                </a:lnTo>
                <a:lnTo>
                  <a:pt x="653" y="1810"/>
                </a:lnTo>
                <a:lnTo>
                  <a:pt x="653" y="1807"/>
                </a:lnTo>
                <a:lnTo>
                  <a:pt x="654" y="1806"/>
                </a:lnTo>
                <a:lnTo>
                  <a:pt x="654" y="1805"/>
                </a:lnTo>
                <a:lnTo>
                  <a:pt x="656" y="1805"/>
                </a:lnTo>
                <a:lnTo>
                  <a:pt x="656" y="1805"/>
                </a:lnTo>
                <a:lnTo>
                  <a:pt x="656" y="1803"/>
                </a:lnTo>
                <a:lnTo>
                  <a:pt x="657" y="1803"/>
                </a:lnTo>
                <a:lnTo>
                  <a:pt x="657" y="1802"/>
                </a:lnTo>
                <a:lnTo>
                  <a:pt x="657" y="1802"/>
                </a:lnTo>
                <a:lnTo>
                  <a:pt x="657" y="1802"/>
                </a:lnTo>
                <a:lnTo>
                  <a:pt x="660" y="1797"/>
                </a:lnTo>
                <a:lnTo>
                  <a:pt x="662" y="1794"/>
                </a:lnTo>
                <a:lnTo>
                  <a:pt x="664" y="1794"/>
                </a:lnTo>
                <a:lnTo>
                  <a:pt x="664" y="1793"/>
                </a:lnTo>
                <a:lnTo>
                  <a:pt x="664" y="1791"/>
                </a:lnTo>
                <a:lnTo>
                  <a:pt x="665" y="1790"/>
                </a:lnTo>
                <a:lnTo>
                  <a:pt x="666" y="1788"/>
                </a:lnTo>
                <a:lnTo>
                  <a:pt x="669" y="1783"/>
                </a:lnTo>
                <a:lnTo>
                  <a:pt x="672" y="1780"/>
                </a:lnTo>
                <a:lnTo>
                  <a:pt x="675" y="1779"/>
                </a:lnTo>
                <a:lnTo>
                  <a:pt x="673" y="1778"/>
                </a:lnTo>
                <a:lnTo>
                  <a:pt x="672" y="1776"/>
                </a:lnTo>
                <a:lnTo>
                  <a:pt x="672" y="1772"/>
                </a:lnTo>
                <a:lnTo>
                  <a:pt x="672" y="1771"/>
                </a:lnTo>
                <a:lnTo>
                  <a:pt x="672" y="1771"/>
                </a:lnTo>
                <a:lnTo>
                  <a:pt x="673" y="1769"/>
                </a:lnTo>
                <a:lnTo>
                  <a:pt x="673" y="1769"/>
                </a:lnTo>
                <a:lnTo>
                  <a:pt x="675" y="1769"/>
                </a:lnTo>
                <a:lnTo>
                  <a:pt x="675" y="1768"/>
                </a:lnTo>
                <a:lnTo>
                  <a:pt x="675" y="1768"/>
                </a:lnTo>
                <a:lnTo>
                  <a:pt x="675" y="1767"/>
                </a:lnTo>
                <a:lnTo>
                  <a:pt x="675" y="1767"/>
                </a:lnTo>
                <a:lnTo>
                  <a:pt x="676" y="1765"/>
                </a:lnTo>
                <a:lnTo>
                  <a:pt x="680" y="1763"/>
                </a:lnTo>
                <a:lnTo>
                  <a:pt x="681" y="1763"/>
                </a:lnTo>
                <a:lnTo>
                  <a:pt x="681" y="1761"/>
                </a:lnTo>
                <a:lnTo>
                  <a:pt x="683" y="1761"/>
                </a:lnTo>
                <a:lnTo>
                  <a:pt x="684" y="1763"/>
                </a:lnTo>
                <a:lnTo>
                  <a:pt x="685" y="1763"/>
                </a:lnTo>
                <a:lnTo>
                  <a:pt x="688" y="1763"/>
                </a:lnTo>
                <a:lnTo>
                  <a:pt x="690" y="1761"/>
                </a:lnTo>
                <a:lnTo>
                  <a:pt x="690" y="1761"/>
                </a:lnTo>
                <a:lnTo>
                  <a:pt x="690" y="1761"/>
                </a:lnTo>
                <a:lnTo>
                  <a:pt x="692" y="1761"/>
                </a:lnTo>
                <a:lnTo>
                  <a:pt x="694" y="1760"/>
                </a:lnTo>
                <a:lnTo>
                  <a:pt x="695" y="1761"/>
                </a:lnTo>
                <a:lnTo>
                  <a:pt x="694" y="1761"/>
                </a:lnTo>
                <a:lnTo>
                  <a:pt x="692" y="1763"/>
                </a:lnTo>
                <a:lnTo>
                  <a:pt x="692" y="1763"/>
                </a:lnTo>
                <a:lnTo>
                  <a:pt x="691" y="1763"/>
                </a:lnTo>
                <a:lnTo>
                  <a:pt x="691" y="1763"/>
                </a:lnTo>
                <a:lnTo>
                  <a:pt x="691" y="1763"/>
                </a:lnTo>
                <a:lnTo>
                  <a:pt x="691" y="1763"/>
                </a:lnTo>
                <a:lnTo>
                  <a:pt x="692" y="1764"/>
                </a:lnTo>
                <a:lnTo>
                  <a:pt x="692" y="1764"/>
                </a:lnTo>
                <a:lnTo>
                  <a:pt x="703" y="1765"/>
                </a:lnTo>
                <a:lnTo>
                  <a:pt x="705" y="1765"/>
                </a:lnTo>
                <a:lnTo>
                  <a:pt x="705" y="1765"/>
                </a:lnTo>
                <a:lnTo>
                  <a:pt x="703" y="1764"/>
                </a:lnTo>
                <a:lnTo>
                  <a:pt x="702" y="1764"/>
                </a:lnTo>
                <a:lnTo>
                  <a:pt x="700" y="1764"/>
                </a:lnTo>
                <a:lnTo>
                  <a:pt x="699" y="1764"/>
                </a:lnTo>
                <a:lnTo>
                  <a:pt x="699" y="1763"/>
                </a:lnTo>
                <a:lnTo>
                  <a:pt x="699" y="1763"/>
                </a:lnTo>
                <a:lnTo>
                  <a:pt x="698" y="1763"/>
                </a:lnTo>
                <a:lnTo>
                  <a:pt x="696" y="1763"/>
                </a:lnTo>
                <a:lnTo>
                  <a:pt x="696" y="1763"/>
                </a:lnTo>
                <a:lnTo>
                  <a:pt x="695" y="1763"/>
                </a:lnTo>
                <a:lnTo>
                  <a:pt x="695" y="1761"/>
                </a:lnTo>
                <a:lnTo>
                  <a:pt x="696" y="1761"/>
                </a:lnTo>
                <a:lnTo>
                  <a:pt x="703" y="1763"/>
                </a:lnTo>
                <a:lnTo>
                  <a:pt x="705" y="1764"/>
                </a:lnTo>
                <a:lnTo>
                  <a:pt x="705" y="1765"/>
                </a:lnTo>
                <a:lnTo>
                  <a:pt x="706" y="1765"/>
                </a:lnTo>
                <a:lnTo>
                  <a:pt x="707" y="1765"/>
                </a:lnTo>
                <a:lnTo>
                  <a:pt x="709" y="1764"/>
                </a:lnTo>
                <a:lnTo>
                  <a:pt x="709" y="1764"/>
                </a:lnTo>
                <a:lnTo>
                  <a:pt x="710" y="1764"/>
                </a:lnTo>
                <a:lnTo>
                  <a:pt x="710" y="1759"/>
                </a:lnTo>
                <a:lnTo>
                  <a:pt x="710" y="1748"/>
                </a:lnTo>
                <a:lnTo>
                  <a:pt x="709" y="1745"/>
                </a:lnTo>
                <a:lnTo>
                  <a:pt x="709" y="1735"/>
                </a:lnTo>
                <a:lnTo>
                  <a:pt x="709" y="1733"/>
                </a:lnTo>
                <a:lnTo>
                  <a:pt x="709" y="1723"/>
                </a:lnTo>
                <a:lnTo>
                  <a:pt x="709" y="1722"/>
                </a:lnTo>
                <a:lnTo>
                  <a:pt x="709" y="1720"/>
                </a:lnTo>
                <a:lnTo>
                  <a:pt x="710" y="1711"/>
                </a:lnTo>
                <a:lnTo>
                  <a:pt x="709" y="1704"/>
                </a:lnTo>
                <a:lnTo>
                  <a:pt x="709" y="1700"/>
                </a:lnTo>
                <a:lnTo>
                  <a:pt x="707" y="1700"/>
                </a:lnTo>
                <a:lnTo>
                  <a:pt x="707" y="1700"/>
                </a:lnTo>
                <a:lnTo>
                  <a:pt x="706" y="1699"/>
                </a:lnTo>
                <a:lnTo>
                  <a:pt x="705" y="1699"/>
                </a:lnTo>
                <a:lnTo>
                  <a:pt x="703" y="1699"/>
                </a:lnTo>
                <a:lnTo>
                  <a:pt x="703" y="1700"/>
                </a:lnTo>
                <a:lnTo>
                  <a:pt x="703" y="1700"/>
                </a:lnTo>
                <a:lnTo>
                  <a:pt x="700" y="1703"/>
                </a:lnTo>
                <a:lnTo>
                  <a:pt x="699" y="1703"/>
                </a:lnTo>
                <a:lnTo>
                  <a:pt x="699" y="1703"/>
                </a:lnTo>
                <a:lnTo>
                  <a:pt x="699" y="1701"/>
                </a:lnTo>
                <a:lnTo>
                  <a:pt x="703" y="1699"/>
                </a:lnTo>
                <a:lnTo>
                  <a:pt x="703" y="1699"/>
                </a:lnTo>
                <a:lnTo>
                  <a:pt x="703" y="1697"/>
                </a:lnTo>
                <a:lnTo>
                  <a:pt x="705" y="1697"/>
                </a:lnTo>
                <a:lnTo>
                  <a:pt x="705" y="1697"/>
                </a:lnTo>
                <a:lnTo>
                  <a:pt x="705" y="1697"/>
                </a:lnTo>
                <a:lnTo>
                  <a:pt x="707" y="1697"/>
                </a:lnTo>
                <a:lnTo>
                  <a:pt x="707" y="1697"/>
                </a:lnTo>
                <a:lnTo>
                  <a:pt x="707" y="1697"/>
                </a:lnTo>
                <a:lnTo>
                  <a:pt x="707" y="1693"/>
                </a:lnTo>
                <a:lnTo>
                  <a:pt x="707" y="1693"/>
                </a:lnTo>
                <a:lnTo>
                  <a:pt x="706" y="1693"/>
                </a:lnTo>
                <a:lnTo>
                  <a:pt x="706" y="1693"/>
                </a:lnTo>
                <a:lnTo>
                  <a:pt x="706" y="1693"/>
                </a:lnTo>
                <a:lnTo>
                  <a:pt x="706" y="1695"/>
                </a:lnTo>
                <a:lnTo>
                  <a:pt x="706" y="1695"/>
                </a:lnTo>
                <a:lnTo>
                  <a:pt x="706" y="1695"/>
                </a:lnTo>
                <a:lnTo>
                  <a:pt x="705" y="1692"/>
                </a:lnTo>
                <a:lnTo>
                  <a:pt x="703" y="1688"/>
                </a:lnTo>
                <a:lnTo>
                  <a:pt x="703" y="1685"/>
                </a:lnTo>
                <a:lnTo>
                  <a:pt x="703" y="1685"/>
                </a:lnTo>
                <a:lnTo>
                  <a:pt x="705" y="1682"/>
                </a:lnTo>
                <a:lnTo>
                  <a:pt x="705" y="1680"/>
                </a:lnTo>
                <a:lnTo>
                  <a:pt x="706" y="1674"/>
                </a:lnTo>
                <a:lnTo>
                  <a:pt x="706" y="1673"/>
                </a:lnTo>
                <a:lnTo>
                  <a:pt x="706" y="1673"/>
                </a:lnTo>
                <a:lnTo>
                  <a:pt x="707" y="1670"/>
                </a:lnTo>
                <a:lnTo>
                  <a:pt x="707" y="1667"/>
                </a:lnTo>
                <a:lnTo>
                  <a:pt x="709" y="1665"/>
                </a:lnTo>
                <a:lnTo>
                  <a:pt x="709" y="1663"/>
                </a:lnTo>
                <a:lnTo>
                  <a:pt x="709" y="1662"/>
                </a:lnTo>
                <a:lnTo>
                  <a:pt x="710" y="1662"/>
                </a:lnTo>
                <a:lnTo>
                  <a:pt x="710" y="1661"/>
                </a:lnTo>
                <a:lnTo>
                  <a:pt x="710" y="1659"/>
                </a:lnTo>
                <a:lnTo>
                  <a:pt x="710" y="1659"/>
                </a:lnTo>
                <a:lnTo>
                  <a:pt x="710" y="1658"/>
                </a:lnTo>
                <a:lnTo>
                  <a:pt x="711" y="1655"/>
                </a:lnTo>
                <a:lnTo>
                  <a:pt x="714" y="1652"/>
                </a:lnTo>
                <a:lnTo>
                  <a:pt x="714" y="1651"/>
                </a:lnTo>
                <a:lnTo>
                  <a:pt x="715" y="1651"/>
                </a:lnTo>
                <a:lnTo>
                  <a:pt x="718" y="1646"/>
                </a:lnTo>
                <a:lnTo>
                  <a:pt x="717" y="1647"/>
                </a:lnTo>
                <a:lnTo>
                  <a:pt x="715" y="1647"/>
                </a:lnTo>
                <a:lnTo>
                  <a:pt x="715" y="1647"/>
                </a:lnTo>
                <a:lnTo>
                  <a:pt x="715" y="1646"/>
                </a:lnTo>
                <a:lnTo>
                  <a:pt x="718" y="1644"/>
                </a:lnTo>
                <a:lnTo>
                  <a:pt x="719" y="1643"/>
                </a:lnTo>
                <a:lnTo>
                  <a:pt x="722" y="1640"/>
                </a:lnTo>
                <a:lnTo>
                  <a:pt x="722" y="1640"/>
                </a:lnTo>
                <a:lnTo>
                  <a:pt x="722" y="1639"/>
                </a:lnTo>
                <a:lnTo>
                  <a:pt x="724" y="1639"/>
                </a:lnTo>
                <a:lnTo>
                  <a:pt x="724" y="1637"/>
                </a:lnTo>
                <a:lnTo>
                  <a:pt x="725" y="1636"/>
                </a:lnTo>
                <a:lnTo>
                  <a:pt x="725" y="1635"/>
                </a:lnTo>
                <a:lnTo>
                  <a:pt x="728" y="1631"/>
                </a:lnTo>
                <a:lnTo>
                  <a:pt x="729" y="1628"/>
                </a:lnTo>
                <a:lnTo>
                  <a:pt x="729" y="1627"/>
                </a:lnTo>
                <a:lnTo>
                  <a:pt x="729" y="1625"/>
                </a:lnTo>
                <a:lnTo>
                  <a:pt x="730" y="1623"/>
                </a:lnTo>
                <a:lnTo>
                  <a:pt x="730" y="1621"/>
                </a:lnTo>
                <a:lnTo>
                  <a:pt x="732" y="1620"/>
                </a:lnTo>
                <a:lnTo>
                  <a:pt x="732" y="1618"/>
                </a:lnTo>
                <a:lnTo>
                  <a:pt x="732" y="1617"/>
                </a:lnTo>
                <a:lnTo>
                  <a:pt x="733" y="1613"/>
                </a:lnTo>
                <a:lnTo>
                  <a:pt x="734" y="1609"/>
                </a:lnTo>
                <a:lnTo>
                  <a:pt x="734" y="1602"/>
                </a:lnTo>
                <a:lnTo>
                  <a:pt x="736" y="1597"/>
                </a:lnTo>
                <a:lnTo>
                  <a:pt x="736" y="1595"/>
                </a:lnTo>
                <a:lnTo>
                  <a:pt x="736" y="1594"/>
                </a:lnTo>
                <a:lnTo>
                  <a:pt x="737" y="1593"/>
                </a:lnTo>
                <a:lnTo>
                  <a:pt x="737" y="1593"/>
                </a:lnTo>
                <a:lnTo>
                  <a:pt x="737" y="1591"/>
                </a:lnTo>
                <a:lnTo>
                  <a:pt x="737" y="1590"/>
                </a:lnTo>
                <a:lnTo>
                  <a:pt x="737" y="1589"/>
                </a:lnTo>
                <a:lnTo>
                  <a:pt x="739" y="1589"/>
                </a:lnTo>
                <a:lnTo>
                  <a:pt x="739" y="1587"/>
                </a:lnTo>
                <a:lnTo>
                  <a:pt x="739" y="1586"/>
                </a:lnTo>
                <a:lnTo>
                  <a:pt x="737" y="1586"/>
                </a:lnTo>
                <a:lnTo>
                  <a:pt x="737" y="1586"/>
                </a:lnTo>
                <a:lnTo>
                  <a:pt x="737" y="1584"/>
                </a:lnTo>
                <a:lnTo>
                  <a:pt x="737" y="1583"/>
                </a:lnTo>
                <a:lnTo>
                  <a:pt x="737" y="1584"/>
                </a:lnTo>
                <a:lnTo>
                  <a:pt x="739" y="1584"/>
                </a:lnTo>
                <a:lnTo>
                  <a:pt x="739" y="1582"/>
                </a:lnTo>
                <a:lnTo>
                  <a:pt x="739" y="1579"/>
                </a:lnTo>
                <a:lnTo>
                  <a:pt x="740" y="1578"/>
                </a:lnTo>
                <a:lnTo>
                  <a:pt x="739" y="1576"/>
                </a:lnTo>
                <a:lnTo>
                  <a:pt x="739" y="1574"/>
                </a:lnTo>
                <a:lnTo>
                  <a:pt x="739" y="1572"/>
                </a:lnTo>
                <a:lnTo>
                  <a:pt x="737" y="1572"/>
                </a:lnTo>
                <a:lnTo>
                  <a:pt x="737" y="1574"/>
                </a:lnTo>
                <a:lnTo>
                  <a:pt x="737" y="1574"/>
                </a:lnTo>
                <a:lnTo>
                  <a:pt x="736" y="1572"/>
                </a:lnTo>
                <a:lnTo>
                  <a:pt x="734" y="1572"/>
                </a:lnTo>
                <a:lnTo>
                  <a:pt x="734" y="1571"/>
                </a:lnTo>
                <a:lnTo>
                  <a:pt x="734" y="1571"/>
                </a:lnTo>
                <a:lnTo>
                  <a:pt x="734" y="1571"/>
                </a:lnTo>
                <a:lnTo>
                  <a:pt x="733" y="1571"/>
                </a:lnTo>
                <a:lnTo>
                  <a:pt x="733" y="1570"/>
                </a:lnTo>
                <a:lnTo>
                  <a:pt x="733" y="1570"/>
                </a:lnTo>
                <a:lnTo>
                  <a:pt x="732" y="1570"/>
                </a:lnTo>
                <a:lnTo>
                  <a:pt x="732" y="1570"/>
                </a:lnTo>
                <a:lnTo>
                  <a:pt x="729" y="1570"/>
                </a:lnTo>
                <a:lnTo>
                  <a:pt x="728" y="1568"/>
                </a:lnTo>
                <a:lnTo>
                  <a:pt x="726" y="1568"/>
                </a:lnTo>
                <a:lnTo>
                  <a:pt x="725" y="1568"/>
                </a:lnTo>
                <a:lnTo>
                  <a:pt x="725" y="1568"/>
                </a:lnTo>
                <a:lnTo>
                  <a:pt x="725" y="1565"/>
                </a:lnTo>
                <a:lnTo>
                  <a:pt x="722" y="1564"/>
                </a:lnTo>
                <a:lnTo>
                  <a:pt x="722" y="1563"/>
                </a:lnTo>
                <a:lnTo>
                  <a:pt x="721" y="1561"/>
                </a:lnTo>
                <a:lnTo>
                  <a:pt x="722" y="1559"/>
                </a:lnTo>
                <a:lnTo>
                  <a:pt x="724" y="1559"/>
                </a:lnTo>
                <a:lnTo>
                  <a:pt x="724" y="1557"/>
                </a:lnTo>
                <a:lnTo>
                  <a:pt x="724" y="1556"/>
                </a:lnTo>
                <a:lnTo>
                  <a:pt x="725" y="1557"/>
                </a:lnTo>
                <a:lnTo>
                  <a:pt x="725" y="1557"/>
                </a:lnTo>
                <a:lnTo>
                  <a:pt x="725" y="1557"/>
                </a:lnTo>
                <a:lnTo>
                  <a:pt x="725" y="1559"/>
                </a:lnTo>
                <a:lnTo>
                  <a:pt x="725" y="1560"/>
                </a:lnTo>
                <a:lnTo>
                  <a:pt x="725" y="1560"/>
                </a:lnTo>
                <a:lnTo>
                  <a:pt x="726" y="1561"/>
                </a:lnTo>
                <a:lnTo>
                  <a:pt x="726" y="1559"/>
                </a:lnTo>
                <a:lnTo>
                  <a:pt x="726" y="1555"/>
                </a:lnTo>
                <a:lnTo>
                  <a:pt x="728" y="1555"/>
                </a:lnTo>
                <a:lnTo>
                  <a:pt x="729" y="1557"/>
                </a:lnTo>
                <a:lnTo>
                  <a:pt x="730" y="1560"/>
                </a:lnTo>
                <a:lnTo>
                  <a:pt x="733" y="1563"/>
                </a:lnTo>
                <a:lnTo>
                  <a:pt x="734" y="1568"/>
                </a:lnTo>
                <a:lnTo>
                  <a:pt x="737" y="1572"/>
                </a:lnTo>
                <a:lnTo>
                  <a:pt x="737" y="1572"/>
                </a:lnTo>
                <a:lnTo>
                  <a:pt x="737" y="1570"/>
                </a:lnTo>
                <a:lnTo>
                  <a:pt x="736" y="1567"/>
                </a:lnTo>
                <a:lnTo>
                  <a:pt x="736" y="1567"/>
                </a:lnTo>
                <a:lnTo>
                  <a:pt x="734" y="1563"/>
                </a:lnTo>
                <a:lnTo>
                  <a:pt x="733" y="1559"/>
                </a:lnTo>
                <a:lnTo>
                  <a:pt x="732" y="1557"/>
                </a:lnTo>
                <a:lnTo>
                  <a:pt x="732" y="1556"/>
                </a:lnTo>
                <a:lnTo>
                  <a:pt x="732" y="1555"/>
                </a:lnTo>
                <a:lnTo>
                  <a:pt x="733" y="1553"/>
                </a:lnTo>
                <a:lnTo>
                  <a:pt x="733" y="1550"/>
                </a:lnTo>
                <a:lnTo>
                  <a:pt x="733" y="1548"/>
                </a:lnTo>
                <a:lnTo>
                  <a:pt x="728" y="1538"/>
                </a:lnTo>
                <a:lnTo>
                  <a:pt x="728" y="1536"/>
                </a:lnTo>
                <a:lnTo>
                  <a:pt x="726" y="1529"/>
                </a:lnTo>
                <a:lnTo>
                  <a:pt x="726" y="1526"/>
                </a:lnTo>
                <a:lnTo>
                  <a:pt x="726" y="1523"/>
                </a:lnTo>
                <a:lnTo>
                  <a:pt x="725" y="1523"/>
                </a:lnTo>
                <a:lnTo>
                  <a:pt x="725" y="1523"/>
                </a:lnTo>
                <a:lnTo>
                  <a:pt x="724" y="1525"/>
                </a:lnTo>
                <a:lnTo>
                  <a:pt x="722" y="1525"/>
                </a:lnTo>
                <a:lnTo>
                  <a:pt x="721" y="1526"/>
                </a:lnTo>
                <a:lnTo>
                  <a:pt x="721" y="1525"/>
                </a:lnTo>
                <a:lnTo>
                  <a:pt x="722" y="1525"/>
                </a:lnTo>
                <a:lnTo>
                  <a:pt x="722" y="1523"/>
                </a:lnTo>
                <a:lnTo>
                  <a:pt x="722" y="1523"/>
                </a:lnTo>
                <a:lnTo>
                  <a:pt x="724" y="1522"/>
                </a:lnTo>
                <a:lnTo>
                  <a:pt x="724" y="1522"/>
                </a:lnTo>
                <a:lnTo>
                  <a:pt x="726" y="1522"/>
                </a:lnTo>
                <a:lnTo>
                  <a:pt x="726" y="1521"/>
                </a:lnTo>
                <a:lnTo>
                  <a:pt x="728" y="1518"/>
                </a:lnTo>
                <a:lnTo>
                  <a:pt x="729" y="1516"/>
                </a:lnTo>
                <a:lnTo>
                  <a:pt x="729" y="1514"/>
                </a:lnTo>
                <a:lnTo>
                  <a:pt x="729" y="1508"/>
                </a:lnTo>
                <a:lnTo>
                  <a:pt x="729" y="1506"/>
                </a:lnTo>
                <a:lnTo>
                  <a:pt x="730" y="1504"/>
                </a:lnTo>
                <a:lnTo>
                  <a:pt x="730" y="1504"/>
                </a:lnTo>
                <a:lnTo>
                  <a:pt x="730" y="1503"/>
                </a:lnTo>
                <a:lnTo>
                  <a:pt x="730" y="1503"/>
                </a:lnTo>
                <a:lnTo>
                  <a:pt x="730" y="1503"/>
                </a:lnTo>
                <a:lnTo>
                  <a:pt x="729" y="1503"/>
                </a:lnTo>
                <a:lnTo>
                  <a:pt x="728" y="1503"/>
                </a:lnTo>
                <a:lnTo>
                  <a:pt x="728" y="1503"/>
                </a:lnTo>
                <a:lnTo>
                  <a:pt x="726" y="1503"/>
                </a:lnTo>
                <a:lnTo>
                  <a:pt x="728" y="1502"/>
                </a:lnTo>
                <a:lnTo>
                  <a:pt x="729" y="1502"/>
                </a:lnTo>
                <a:lnTo>
                  <a:pt x="729" y="1502"/>
                </a:lnTo>
                <a:lnTo>
                  <a:pt x="729" y="1500"/>
                </a:lnTo>
                <a:lnTo>
                  <a:pt x="729" y="1500"/>
                </a:lnTo>
                <a:lnTo>
                  <a:pt x="728" y="1499"/>
                </a:lnTo>
                <a:lnTo>
                  <a:pt x="728" y="1497"/>
                </a:lnTo>
                <a:lnTo>
                  <a:pt x="728" y="1496"/>
                </a:lnTo>
                <a:lnTo>
                  <a:pt x="726" y="1495"/>
                </a:lnTo>
                <a:lnTo>
                  <a:pt x="725" y="1495"/>
                </a:lnTo>
                <a:lnTo>
                  <a:pt x="725" y="1495"/>
                </a:lnTo>
                <a:lnTo>
                  <a:pt x="725" y="1493"/>
                </a:lnTo>
                <a:lnTo>
                  <a:pt x="725" y="1491"/>
                </a:lnTo>
                <a:lnTo>
                  <a:pt x="722" y="1481"/>
                </a:lnTo>
                <a:lnTo>
                  <a:pt x="722" y="1480"/>
                </a:lnTo>
                <a:lnTo>
                  <a:pt x="722" y="1477"/>
                </a:lnTo>
                <a:lnTo>
                  <a:pt x="721" y="1476"/>
                </a:lnTo>
                <a:lnTo>
                  <a:pt x="721" y="1470"/>
                </a:lnTo>
                <a:lnTo>
                  <a:pt x="724" y="1463"/>
                </a:lnTo>
                <a:lnTo>
                  <a:pt x="724" y="1458"/>
                </a:lnTo>
                <a:lnTo>
                  <a:pt x="724" y="1457"/>
                </a:lnTo>
                <a:lnTo>
                  <a:pt x="725" y="1454"/>
                </a:lnTo>
                <a:lnTo>
                  <a:pt x="726" y="1453"/>
                </a:lnTo>
                <a:lnTo>
                  <a:pt x="726" y="1451"/>
                </a:lnTo>
                <a:lnTo>
                  <a:pt x="729" y="1448"/>
                </a:lnTo>
                <a:lnTo>
                  <a:pt x="729" y="1448"/>
                </a:lnTo>
                <a:lnTo>
                  <a:pt x="730" y="1446"/>
                </a:lnTo>
                <a:lnTo>
                  <a:pt x="730" y="1446"/>
                </a:lnTo>
                <a:lnTo>
                  <a:pt x="730" y="1444"/>
                </a:lnTo>
                <a:lnTo>
                  <a:pt x="730" y="1444"/>
                </a:lnTo>
                <a:lnTo>
                  <a:pt x="732" y="1442"/>
                </a:lnTo>
                <a:lnTo>
                  <a:pt x="732" y="1442"/>
                </a:lnTo>
                <a:lnTo>
                  <a:pt x="734" y="1435"/>
                </a:lnTo>
                <a:lnTo>
                  <a:pt x="736" y="1432"/>
                </a:lnTo>
                <a:lnTo>
                  <a:pt x="740" y="1428"/>
                </a:lnTo>
                <a:lnTo>
                  <a:pt x="743" y="1427"/>
                </a:lnTo>
                <a:lnTo>
                  <a:pt x="744" y="1427"/>
                </a:lnTo>
                <a:lnTo>
                  <a:pt x="745" y="1425"/>
                </a:lnTo>
                <a:lnTo>
                  <a:pt x="747" y="1425"/>
                </a:lnTo>
                <a:lnTo>
                  <a:pt x="747" y="1424"/>
                </a:lnTo>
                <a:lnTo>
                  <a:pt x="747" y="1424"/>
                </a:lnTo>
                <a:lnTo>
                  <a:pt x="748" y="1424"/>
                </a:lnTo>
                <a:lnTo>
                  <a:pt x="748" y="1424"/>
                </a:lnTo>
                <a:lnTo>
                  <a:pt x="749" y="1423"/>
                </a:lnTo>
                <a:lnTo>
                  <a:pt x="751" y="1423"/>
                </a:lnTo>
                <a:lnTo>
                  <a:pt x="752" y="1421"/>
                </a:lnTo>
                <a:lnTo>
                  <a:pt x="752" y="1421"/>
                </a:lnTo>
                <a:lnTo>
                  <a:pt x="752" y="1423"/>
                </a:lnTo>
                <a:lnTo>
                  <a:pt x="753" y="1423"/>
                </a:lnTo>
                <a:lnTo>
                  <a:pt x="755" y="1421"/>
                </a:lnTo>
                <a:lnTo>
                  <a:pt x="756" y="1421"/>
                </a:lnTo>
                <a:lnTo>
                  <a:pt x="759" y="1421"/>
                </a:lnTo>
                <a:lnTo>
                  <a:pt x="758" y="1421"/>
                </a:lnTo>
                <a:lnTo>
                  <a:pt x="759" y="1420"/>
                </a:lnTo>
                <a:lnTo>
                  <a:pt x="759" y="1420"/>
                </a:lnTo>
                <a:lnTo>
                  <a:pt x="759" y="1420"/>
                </a:lnTo>
                <a:lnTo>
                  <a:pt x="759" y="1420"/>
                </a:lnTo>
                <a:lnTo>
                  <a:pt x="760" y="1420"/>
                </a:lnTo>
                <a:lnTo>
                  <a:pt x="763" y="1421"/>
                </a:lnTo>
                <a:lnTo>
                  <a:pt x="764" y="1421"/>
                </a:lnTo>
                <a:lnTo>
                  <a:pt x="766" y="1421"/>
                </a:lnTo>
                <a:lnTo>
                  <a:pt x="767" y="1424"/>
                </a:lnTo>
                <a:lnTo>
                  <a:pt x="767" y="1427"/>
                </a:lnTo>
                <a:lnTo>
                  <a:pt x="767" y="1432"/>
                </a:lnTo>
                <a:lnTo>
                  <a:pt x="768" y="1431"/>
                </a:lnTo>
                <a:lnTo>
                  <a:pt x="768" y="1429"/>
                </a:lnTo>
                <a:lnTo>
                  <a:pt x="770" y="1425"/>
                </a:lnTo>
                <a:lnTo>
                  <a:pt x="773" y="1421"/>
                </a:lnTo>
                <a:lnTo>
                  <a:pt x="773" y="1419"/>
                </a:lnTo>
                <a:lnTo>
                  <a:pt x="773" y="1416"/>
                </a:lnTo>
                <a:lnTo>
                  <a:pt x="771" y="1413"/>
                </a:lnTo>
                <a:lnTo>
                  <a:pt x="771" y="1413"/>
                </a:lnTo>
                <a:lnTo>
                  <a:pt x="771" y="1413"/>
                </a:lnTo>
                <a:lnTo>
                  <a:pt x="773" y="1414"/>
                </a:lnTo>
                <a:lnTo>
                  <a:pt x="773" y="1413"/>
                </a:lnTo>
                <a:lnTo>
                  <a:pt x="773" y="1413"/>
                </a:lnTo>
                <a:lnTo>
                  <a:pt x="773" y="1412"/>
                </a:lnTo>
                <a:lnTo>
                  <a:pt x="773" y="1414"/>
                </a:lnTo>
                <a:lnTo>
                  <a:pt x="774" y="1416"/>
                </a:lnTo>
                <a:lnTo>
                  <a:pt x="774" y="1416"/>
                </a:lnTo>
                <a:lnTo>
                  <a:pt x="773" y="1421"/>
                </a:lnTo>
                <a:lnTo>
                  <a:pt x="773" y="1423"/>
                </a:lnTo>
                <a:lnTo>
                  <a:pt x="774" y="1424"/>
                </a:lnTo>
                <a:lnTo>
                  <a:pt x="774" y="1424"/>
                </a:lnTo>
                <a:lnTo>
                  <a:pt x="775" y="1424"/>
                </a:lnTo>
                <a:lnTo>
                  <a:pt x="775" y="1425"/>
                </a:lnTo>
                <a:lnTo>
                  <a:pt x="778" y="1427"/>
                </a:lnTo>
                <a:lnTo>
                  <a:pt x="778" y="1427"/>
                </a:lnTo>
                <a:lnTo>
                  <a:pt x="778" y="1428"/>
                </a:lnTo>
                <a:lnTo>
                  <a:pt x="779" y="1428"/>
                </a:lnTo>
                <a:lnTo>
                  <a:pt x="779" y="1428"/>
                </a:lnTo>
                <a:lnTo>
                  <a:pt x="779" y="1428"/>
                </a:lnTo>
                <a:lnTo>
                  <a:pt x="779" y="1427"/>
                </a:lnTo>
                <a:lnTo>
                  <a:pt x="779" y="1425"/>
                </a:lnTo>
                <a:lnTo>
                  <a:pt x="779" y="1425"/>
                </a:lnTo>
                <a:lnTo>
                  <a:pt x="779" y="1425"/>
                </a:lnTo>
                <a:lnTo>
                  <a:pt x="779" y="1424"/>
                </a:lnTo>
                <a:lnTo>
                  <a:pt x="779" y="1424"/>
                </a:lnTo>
                <a:lnTo>
                  <a:pt x="781" y="1421"/>
                </a:lnTo>
                <a:lnTo>
                  <a:pt x="782" y="1421"/>
                </a:lnTo>
                <a:lnTo>
                  <a:pt x="785" y="1419"/>
                </a:lnTo>
                <a:lnTo>
                  <a:pt x="787" y="1416"/>
                </a:lnTo>
                <a:lnTo>
                  <a:pt x="787" y="1416"/>
                </a:lnTo>
                <a:lnTo>
                  <a:pt x="789" y="1416"/>
                </a:lnTo>
                <a:lnTo>
                  <a:pt x="789" y="1412"/>
                </a:lnTo>
                <a:lnTo>
                  <a:pt x="789" y="1410"/>
                </a:lnTo>
                <a:lnTo>
                  <a:pt x="790" y="1409"/>
                </a:lnTo>
                <a:lnTo>
                  <a:pt x="790" y="1406"/>
                </a:lnTo>
                <a:lnTo>
                  <a:pt x="792" y="1402"/>
                </a:lnTo>
                <a:lnTo>
                  <a:pt x="793" y="1400"/>
                </a:lnTo>
                <a:lnTo>
                  <a:pt x="794" y="1397"/>
                </a:lnTo>
                <a:lnTo>
                  <a:pt x="794" y="1397"/>
                </a:lnTo>
                <a:lnTo>
                  <a:pt x="794" y="1395"/>
                </a:lnTo>
                <a:lnTo>
                  <a:pt x="794" y="1395"/>
                </a:lnTo>
                <a:lnTo>
                  <a:pt x="794" y="1394"/>
                </a:lnTo>
                <a:lnTo>
                  <a:pt x="794" y="1394"/>
                </a:lnTo>
                <a:lnTo>
                  <a:pt x="798" y="1391"/>
                </a:lnTo>
                <a:lnTo>
                  <a:pt x="798" y="1391"/>
                </a:lnTo>
                <a:lnTo>
                  <a:pt x="800" y="1391"/>
                </a:lnTo>
                <a:lnTo>
                  <a:pt x="801" y="1391"/>
                </a:lnTo>
                <a:lnTo>
                  <a:pt x="801" y="1391"/>
                </a:lnTo>
                <a:lnTo>
                  <a:pt x="802" y="1391"/>
                </a:lnTo>
                <a:lnTo>
                  <a:pt x="802" y="1390"/>
                </a:lnTo>
                <a:lnTo>
                  <a:pt x="804" y="1390"/>
                </a:lnTo>
                <a:lnTo>
                  <a:pt x="804" y="1391"/>
                </a:lnTo>
                <a:lnTo>
                  <a:pt x="805" y="1391"/>
                </a:lnTo>
                <a:lnTo>
                  <a:pt x="805" y="1391"/>
                </a:lnTo>
                <a:lnTo>
                  <a:pt x="804" y="1393"/>
                </a:lnTo>
                <a:lnTo>
                  <a:pt x="804" y="1393"/>
                </a:lnTo>
                <a:lnTo>
                  <a:pt x="808" y="1391"/>
                </a:lnTo>
                <a:lnTo>
                  <a:pt x="809" y="1391"/>
                </a:lnTo>
                <a:lnTo>
                  <a:pt x="811" y="1393"/>
                </a:lnTo>
                <a:lnTo>
                  <a:pt x="812" y="1393"/>
                </a:lnTo>
                <a:lnTo>
                  <a:pt x="812" y="1391"/>
                </a:lnTo>
                <a:lnTo>
                  <a:pt x="812" y="1391"/>
                </a:lnTo>
                <a:lnTo>
                  <a:pt x="813" y="1391"/>
                </a:lnTo>
                <a:lnTo>
                  <a:pt x="813" y="1393"/>
                </a:lnTo>
                <a:lnTo>
                  <a:pt x="813" y="1393"/>
                </a:lnTo>
                <a:lnTo>
                  <a:pt x="815" y="1393"/>
                </a:lnTo>
                <a:lnTo>
                  <a:pt x="816" y="1393"/>
                </a:lnTo>
                <a:lnTo>
                  <a:pt x="817" y="1394"/>
                </a:lnTo>
                <a:lnTo>
                  <a:pt x="819" y="1393"/>
                </a:lnTo>
                <a:lnTo>
                  <a:pt x="820" y="1394"/>
                </a:lnTo>
                <a:lnTo>
                  <a:pt x="821" y="1394"/>
                </a:lnTo>
                <a:lnTo>
                  <a:pt x="821" y="1395"/>
                </a:lnTo>
                <a:lnTo>
                  <a:pt x="823" y="1395"/>
                </a:lnTo>
                <a:lnTo>
                  <a:pt x="826" y="1394"/>
                </a:lnTo>
                <a:lnTo>
                  <a:pt x="826" y="1393"/>
                </a:lnTo>
                <a:lnTo>
                  <a:pt x="831" y="1391"/>
                </a:lnTo>
                <a:lnTo>
                  <a:pt x="832" y="1390"/>
                </a:lnTo>
                <a:lnTo>
                  <a:pt x="834" y="1390"/>
                </a:lnTo>
                <a:lnTo>
                  <a:pt x="835" y="1390"/>
                </a:lnTo>
                <a:lnTo>
                  <a:pt x="836" y="1390"/>
                </a:lnTo>
                <a:lnTo>
                  <a:pt x="836" y="1389"/>
                </a:lnTo>
                <a:lnTo>
                  <a:pt x="838" y="1389"/>
                </a:lnTo>
                <a:lnTo>
                  <a:pt x="838" y="1389"/>
                </a:lnTo>
                <a:lnTo>
                  <a:pt x="839" y="1389"/>
                </a:lnTo>
                <a:lnTo>
                  <a:pt x="839" y="1389"/>
                </a:lnTo>
                <a:lnTo>
                  <a:pt x="841" y="1387"/>
                </a:lnTo>
                <a:lnTo>
                  <a:pt x="842" y="1386"/>
                </a:lnTo>
                <a:lnTo>
                  <a:pt x="843" y="1387"/>
                </a:lnTo>
                <a:lnTo>
                  <a:pt x="845" y="1386"/>
                </a:lnTo>
                <a:lnTo>
                  <a:pt x="847" y="1385"/>
                </a:lnTo>
                <a:lnTo>
                  <a:pt x="850" y="1383"/>
                </a:lnTo>
                <a:lnTo>
                  <a:pt x="850" y="1383"/>
                </a:lnTo>
                <a:lnTo>
                  <a:pt x="851" y="1382"/>
                </a:lnTo>
                <a:lnTo>
                  <a:pt x="855" y="1379"/>
                </a:lnTo>
                <a:lnTo>
                  <a:pt x="858" y="1378"/>
                </a:lnTo>
                <a:lnTo>
                  <a:pt x="857" y="1378"/>
                </a:lnTo>
                <a:lnTo>
                  <a:pt x="857" y="1376"/>
                </a:lnTo>
                <a:lnTo>
                  <a:pt x="857" y="1376"/>
                </a:lnTo>
                <a:lnTo>
                  <a:pt x="857" y="1375"/>
                </a:lnTo>
                <a:lnTo>
                  <a:pt x="857" y="1375"/>
                </a:lnTo>
                <a:lnTo>
                  <a:pt x="857" y="1376"/>
                </a:lnTo>
                <a:lnTo>
                  <a:pt x="858" y="1376"/>
                </a:lnTo>
                <a:lnTo>
                  <a:pt x="858" y="1376"/>
                </a:lnTo>
                <a:lnTo>
                  <a:pt x="858" y="1376"/>
                </a:lnTo>
                <a:lnTo>
                  <a:pt x="858" y="1376"/>
                </a:lnTo>
                <a:lnTo>
                  <a:pt x="858" y="1375"/>
                </a:lnTo>
                <a:lnTo>
                  <a:pt x="860" y="1372"/>
                </a:lnTo>
                <a:lnTo>
                  <a:pt x="861" y="1371"/>
                </a:lnTo>
                <a:lnTo>
                  <a:pt x="861" y="1367"/>
                </a:lnTo>
                <a:lnTo>
                  <a:pt x="861" y="1364"/>
                </a:lnTo>
                <a:lnTo>
                  <a:pt x="861" y="1361"/>
                </a:lnTo>
                <a:lnTo>
                  <a:pt x="861" y="1357"/>
                </a:lnTo>
                <a:lnTo>
                  <a:pt x="861" y="1356"/>
                </a:lnTo>
                <a:lnTo>
                  <a:pt x="861" y="1355"/>
                </a:lnTo>
                <a:lnTo>
                  <a:pt x="861" y="1357"/>
                </a:lnTo>
                <a:lnTo>
                  <a:pt x="861" y="1359"/>
                </a:lnTo>
                <a:lnTo>
                  <a:pt x="861" y="1361"/>
                </a:lnTo>
                <a:lnTo>
                  <a:pt x="861" y="1361"/>
                </a:lnTo>
                <a:lnTo>
                  <a:pt x="860" y="1361"/>
                </a:lnTo>
                <a:lnTo>
                  <a:pt x="860" y="1361"/>
                </a:lnTo>
                <a:lnTo>
                  <a:pt x="860" y="1361"/>
                </a:lnTo>
                <a:lnTo>
                  <a:pt x="858" y="1361"/>
                </a:lnTo>
                <a:lnTo>
                  <a:pt x="858" y="1361"/>
                </a:lnTo>
                <a:lnTo>
                  <a:pt x="858" y="1361"/>
                </a:lnTo>
                <a:lnTo>
                  <a:pt x="858" y="1361"/>
                </a:lnTo>
                <a:lnTo>
                  <a:pt x="857" y="1361"/>
                </a:lnTo>
                <a:lnTo>
                  <a:pt x="855" y="1360"/>
                </a:lnTo>
                <a:lnTo>
                  <a:pt x="854" y="1359"/>
                </a:lnTo>
                <a:lnTo>
                  <a:pt x="854" y="1357"/>
                </a:lnTo>
                <a:lnTo>
                  <a:pt x="854" y="1356"/>
                </a:lnTo>
                <a:lnTo>
                  <a:pt x="857" y="1352"/>
                </a:lnTo>
                <a:lnTo>
                  <a:pt x="857" y="1351"/>
                </a:lnTo>
                <a:lnTo>
                  <a:pt x="858" y="1349"/>
                </a:lnTo>
                <a:lnTo>
                  <a:pt x="860" y="1348"/>
                </a:lnTo>
                <a:lnTo>
                  <a:pt x="862" y="1345"/>
                </a:lnTo>
                <a:lnTo>
                  <a:pt x="862" y="1344"/>
                </a:lnTo>
                <a:lnTo>
                  <a:pt x="865" y="1344"/>
                </a:lnTo>
                <a:lnTo>
                  <a:pt x="865" y="1342"/>
                </a:lnTo>
                <a:lnTo>
                  <a:pt x="866" y="1341"/>
                </a:lnTo>
                <a:lnTo>
                  <a:pt x="868" y="1340"/>
                </a:lnTo>
                <a:lnTo>
                  <a:pt x="883" y="1330"/>
                </a:lnTo>
                <a:lnTo>
                  <a:pt x="885" y="1330"/>
                </a:lnTo>
                <a:lnTo>
                  <a:pt x="888" y="1329"/>
                </a:lnTo>
                <a:lnTo>
                  <a:pt x="889" y="1327"/>
                </a:lnTo>
                <a:lnTo>
                  <a:pt x="891" y="1327"/>
                </a:lnTo>
                <a:lnTo>
                  <a:pt x="892" y="1326"/>
                </a:lnTo>
                <a:lnTo>
                  <a:pt x="892" y="1326"/>
                </a:lnTo>
                <a:lnTo>
                  <a:pt x="894" y="1326"/>
                </a:lnTo>
                <a:lnTo>
                  <a:pt x="894" y="1326"/>
                </a:lnTo>
                <a:lnTo>
                  <a:pt x="896" y="1325"/>
                </a:lnTo>
                <a:lnTo>
                  <a:pt x="898" y="1325"/>
                </a:lnTo>
                <a:lnTo>
                  <a:pt x="898" y="1325"/>
                </a:lnTo>
                <a:lnTo>
                  <a:pt x="899" y="1323"/>
                </a:lnTo>
                <a:lnTo>
                  <a:pt x="899" y="1322"/>
                </a:lnTo>
                <a:lnTo>
                  <a:pt x="902" y="1322"/>
                </a:lnTo>
                <a:lnTo>
                  <a:pt x="903" y="1321"/>
                </a:lnTo>
                <a:lnTo>
                  <a:pt x="906" y="1319"/>
                </a:lnTo>
                <a:lnTo>
                  <a:pt x="910" y="1317"/>
                </a:lnTo>
                <a:lnTo>
                  <a:pt x="911" y="1317"/>
                </a:lnTo>
                <a:lnTo>
                  <a:pt x="913" y="1315"/>
                </a:lnTo>
                <a:lnTo>
                  <a:pt x="914" y="1315"/>
                </a:lnTo>
                <a:lnTo>
                  <a:pt x="914" y="1315"/>
                </a:lnTo>
                <a:lnTo>
                  <a:pt x="914" y="1314"/>
                </a:lnTo>
                <a:lnTo>
                  <a:pt x="913" y="1313"/>
                </a:lnTo>
                <a:lnTo>
                  <a:pt x="915" y="1313"/>
                </a:lnTo>
                <a:lnTo>
                  <a:pt x="915" y="1313"/>
                </a:lnTo>
                <a:lnTo>
                  <a:pt x="917" y="1311"/>
                </a:lnTo>
                <a:lnTo>
                  <a:pt x="918" y="1311"/>
                </a:lnTo>
                <a:lnTo>
                  <a:pt x="918" y="1311"/>
                </a:lnTo>
                <a:lnTo>
                  <a:pt x="918" y="1310"/>
                </a:lnTo>
                <a:lnTo>
                  <a:pt x="918" y="1310"/>
                </a:lnTo>
                <a:lnTo>
                  <a:pt x="917" y="1310"/>
                </a:lnTo>
                <a:lnTo>
                  <a:pt x="915" y="1308"/>
                </a:lnTo>
                <a:lnTo>
                  <a:pt x="914" y="1308"/>
                </a:lnTo>
                <a:lnTo>
                  <a:pt x="915" y="1307"/>
                </a:lnTo>
                <a:lnTo>
                  <a:pt x="917" y="1307"/>
                </a:lnTo>
                <a:lnTo>
                  <a:pt x="917" y="1307"/>
                </a:lnTo>
                <a:lnTo>
                  <a:pt x="917" y="1308"/>
                </a:lnTo>
                <a:lnTo>
                  <a:pt x="917" y="1308"/>
                </a:lnTo>
                <a:lnTo>
                  <a:pt x="917" y="1308"/>
                </a:lnTo>
                <a:lnTo>
                  <a:pt x="917" y="1308"/>
                </a:lnTo>
                <a:lnTo>
                  <a:pt x="918" y="1308"/>
                </a:lnTo>
                <a:lnTo>
                  <a:pt x="918" y="1308"/>
                </a:lnTo>
                <a:lnTo>
                  <a:pt x="918" y="1308"/>
                </a:lnTo>
                <a:lnTo>
                  <a:pt x="918" y="1308"/>
                </a:lnTo>
                <a:lnTo>
                  <a:pt x="919" y="1308"/>
                </a:lnTo>
                <a:lnTo>
                  <a:pt x="919" y="1308"/>
                </a:lnTo>
                <a:lnTo>
                  <a:pt x="921" y="1307"/>
                </a:lnTo>
                <a:lnTo>
                  <a:pt x="925" y="1303"/>
                </a:lnTo>
                <a:lnTo>
                  <a:pt x="925" y="1302"/>
                </a:lnTo>
                <a:lnTo>
                  <a:pt x="926" y="1300"/>
                </a:lnTo>
                <a:lnTo>
                  <a:pt x="926" y="1299"/>
                </a:lnTo>
                <a:lnTo>
                  <a:pt x="928" y="1298"/>
                </a:lnTo>
                <a:lnTo>
                  <a:pt x="928" y="1296"/>
                </a:lnTo>
                <a:lnTo>
                  <a:pt x="928" y="1296"/>
                </a:lnTo>
                <a:lnTo>
                  <a:pt x="928" y="1295"/>
                </a:lnTo>
                <a:lnTo>
                  <a:pt x="928" y="1295"/>
                </a:lnTo>
                <a:lnTo>
                  <a:pt x="928" y="1296"/>
                </a:lnTo>
                <a:lnTo>
                  <a:pt x="929" y="1296"/>
                </a:lnTo>
                <a:lnTo>
                  <a:pt x="929" y="1295"/>
                </a:lnTo>
                <a:lnTo>
                  <a:pt x="932" y="1293"/>
                </a:lnTo>
                <a:lnTo>
                  <a:pt x="932" y="1292"/>
                </a:lnTo>
                <a:lnTo>
                  <a:pt x="933" y="1292"/>
                </a:lnTo>
                <a:lnTo>
                  <a:pt x="933" y="1291"/>
                </a:lnTo>
                <a:lnTo>
                  <a:pt x="933" y="1291"/>
                </a:lnTo>
                <a:lnTo>
                  <a:pt x="934" y="1291"/>
                </a:lnTo>
                <a:lnTo>
                  <a:pt x="934" y="1289"/>
                </a:lnTo>
                <a:lnTo>
                  <a:pt x="936" y="1288"/>
                </a:lnTo>
                <a:lnTo>
                  <a:pt x="937" y="1287"/>
                </a:lnTo>
                <a:lnTo>
                  <a:pt x="947" y="1281"/>
                </a:lnTo>
                <a:lnTo>
                  <a:pt x="966" y="1273"/>
                </a:lnTo>
                <a:lnTo>
                  <a:pt x="967" y="1270"/>
                </a:lnTo>
                <a:lnTo>
                  <a:pt x="968" y="1269"/>
                </a:lnTo>
                <a:lnTo>
                  <a:pt x="968" y="1268"/>
                </a:lnTo>
                <a:lnTo>
                  <a:pt x="968" y="1268"/>
                </a:lnTo>
                <a:lnTo>
                  <a:pt x="968" y="1266"/>
                </a:lnTo>
                <a:lnTo>
                  <a:pt x="970" y="1266"/>
                </a:lnTo>
                <a:lnTo>
                  <a:pt x="970" y="1266"/>
                </a:lnTo>
                <a:lnTo>
                  <a:pt x="971" y="1265"/>
                </a:lnTo>
                <a:lnTo>
                  <a:pt x="972" y="1264"/>
                </a:lnTo>
                <a:lnTo>
                  <a:pt x="974" y="1262"/>
                </a:lnTo>
                <a:lnTo>
                  <a:pt x="975" y="1261"/>
                </a:lnTo>
                <a:lnTo>
                  <a:pt x="978" y="1258"/>
                </a:lnTo>
                <a:lnTo>
                  <a:pt x="981" y="1255"/>
                </a:lnTo>
                <a:lnTo>
                  <a:pt x="982" y="1255"/>
                </a:lnTo>
                <a:lnTo>
                  <a:pt x="981" y="1255"/>
                </a:lnTo>
                <a:lnTo>
                  <a:pt x="978" y="1257"/>
                </a:lnTo>
                <a:lnTo>
                  <a:pt x="977" y="1258"/>
                </a:lnTo>
                <a:lnTo>
                  <a:pt x="975" y="1258"/>
                </a:lnTo>
                <a:lnTo>
                  <a:pt x="975" y="1258"/>
                </a:lnTo>
                <a:lnTo>
                  <a:pt x="975" y="1257"/>
                </a:lnTo>
                <a:lnTo>
                  <a:pt x="975" y="1257"/>
                </a:lnTo>
                <a:lnTo>
                  <a:pt x="977" y="1257"/>
                </a:lnTo>
                <a:lnTo>
                  <a:pt x="978" y="1257"/>
                </a:lnTo>
                <a:lnTo>
                  <a:pt x="978" y="1257"/>
                </a:lnTo>
                <a:lnTo>
                  <a:pt x="979" y="1255"/>
                </a:lnTo>
                <a:lnTo>
                  <a:pt x="979" y="1255"/>
                </a:lnTo>
                <a:lnTo>
                  <a:pt x="981" y="1255"/>
                </a:lnTo>
                <a:lnTo>
                  <a:pt x="982" y="1254"/>
                </a:lnTo>
                <a:lnTo>
                  <a:pt x="983" y="1251"/>
                </a:lnTo>
                <a:lnTo>
                  <a:pt x="986" y="1250"/>
                </a:lnTo>
                <a:lnTo>
                  <a:pt x="986" y="1249"/>
                </a:lnTo>
                <a:lnTo>
                  <a:pt x="987" y="1249"/>
                </a:lnTo>
                <a:lnTo>
                  <a:pt x="987" y="1247"/>
                </a:lnTo>
                <a:lnTo>
                  <a:pt x="993" y="1240"/>
                </a:lnTo>
                <a:lnTo>
                  <a:pt x="994" y="1239"/>
                </a:lnTo>
                <a:lnTo>
                  <a:pt x="998" y="1232"/>
                </a:lnTo>
                <a:lnTo>
                  <a:pt x="1001" y="1231"/>
                </a:lnTo>
                <a:lnTo>
                  <a:pt x="1001" y="1231"/>
                </a:lnTo>
                <a:lnTo>
                  <a:pt x="1002" y="1228"/>
                </a:lnTo>
                <a:lnTo>
                  <a:pt x="1005" y="1225"/>
                </a:lnTo>
                <a:lnTo>
                  <a:pt x="1006" y="1224"/>
                </a:lnTo>
                <a:lnTo>
                  <a:pt x="1008" y="1221"/>
                </a:lnTo>
                <a:lnTo>
                  <a:pt x="1008" y="1221"/>
                </a:lnTo>
                <a:lnTo>
                  <a:pt x="1008" y="1220"/>
                </a:lnTo>
                <a:lnTo>
                  <a:pt x="1006" y="1220"/>
                </a:lnTo>
                <a:lnTo>
                  <a:pt x="1006" y="1220"/>
                </a:lnTo>
                <a:lnTo>
                  <a:pt x="1006" y="1220"/>
                </a:lnTo>
                <a:lnTo>
                  <a:pt x="1005" y="1223"/>
                </a:lnTo>
                <a:lnTo>
                  <a:pt x="1005" y="1221"/>
                </a:lnTo>
                <a:lnTo>
                  <a:pt x="1004" y="1221"/>
                </a:lnTo>
                <a:lnTo>
                  <a:pt x="1004" y="1220"/>
                </a:lnTo>
                <a:lnTo>
                  <a:pt x="1004" y="1220"/>
                </a:lnTo>
                <a:lnTo>
                  <a:pt x="1005" y="1219"/>
                </a:lnTo>
                <a:lnTo>
                  <a:pt x="1005" y="1219"/>
                </a:lnTo>
                <a:lnTo>
                  <a:pt x="1005" y="1217"/>
                </a:lnTo>
                <a:lnTo>
                  <a:pt x="1006" y="1219"/>
                </a:lnTo>
                <a:lnTo>
                  <a:pt x="1006" y="1219"/>
                </a:lnTo>
                <a:lnTo>
                  <a:pt x="1008" y="1220"/>
                </a:lnTo>
                <a:lnTo>
                  <a:pt x="1008" y="1220"/>
                </a:lnTo>
                <a:lnTo>
                  <a:pt x="1008" y="1219"/>
                </a:lnTo>
                <a:lnTo>
                  <a:pt x="1013" y="1213"/>
                </a:lnTo>
                <a:lnTo>
                  <a:pt x="1020" y="1206"/>
                </a:lnTo>
                <a:lnTo>
                  <a:pt x="1025" y="1204"/>
                </a:lnTo>
                <a:lnTo>
                  <a:pt x="1032" y="1197"/>
                </a:lnTo>
                <a:lnTo>
                  <a:pt x="1035" y="1194"/>
                </a:lnTo>
                <a:lnTo>
                  <a:pt x="1038" y="1193"/>
                </a:lnTo>
                <a:lnTo>
                  <a:pt x="1042" y="1190"/>
                </a:lnTo>
                <a:lnTo>
                  <a:pt x="1045" y="1189"/>
                </a:lnTo>
                <a:lnTo>
                  <a:pt x="1049" y="1187"/>
                </a:lnTo>
                <a:lnTo>
                  <a:pt x="1054" y="1185"/>
                </a:lnTo>
                <a:lnTo>
                  <a:pt x="1055" y="1183"/>
                </a:lnTo>
                <a:lnTo>
                  <a:pt x="1040" y="1190"/>
                </a:lnTo>
                <a:lnTo>
                  <a:pt x="1039" y="1190"/>
                </a:lnTo>
                <a:lnTo>
                  <a:pt x="1039" y="1190"/>
                </a:lnTo>
                <a:lnTo>
                  <a:pt x="1039" y="1190"/>
                </a:lnTo>
                <a:lnTo>
                  <a:pt x="1039" y="1189"/>
                </a:lnTo>
                <a:lnTo>
                  <a:pt x="1039" y="1189"/>
                </a:lnTo>
                <a:lnTo>
                  <a:pt x="1039" y="1189"/>
                </a:lnTo>
                <a:lnTo>
                  <a:pt x="1039" y="1189"/>
                </a:lnTo>
                <a:lnTo>
                  <a:pt x="1040" y="1189"/>
                </a:lnTo>
                <a:lnTo>
                  <a:pt x="1040" y="1187"/>
                </a:lnTo>
                <a:lnTo>
                  <a:pt x="1040" y="1187"/>
                </a:lnTo>
                <a:lnTo>
                  <a:pt x="1040" y="1189"/>
                </a:lnTo>
                <a:lnTo>
                  <a:pt x="1042" y="1189"/>
                </a:lnTo>
                <a:lnTo>
                  <a:pt x="1042" y="1189"/>
                </a:lnTo>
                <a:lnTo>
                  <a:pt x="1043" y="1189"/>
                </a:lnTo>
                <a:lnTo>
                  <a:pt x="1043" y="1187"/>
                </a:lnTo>
                <a:lnTo>
                  <a:pt x="1045" y="1187"/>
                </a:lnTo>
                <a:lnTo>
                  <a:pt x="1045" y="1187"/>
                </a:lnTo>
                <a:lnTo>
                  <a:pt x="1045" y="1186"/>
                </a:lnTo>
                <a:lnTo>
                  <a:pt x="1045" y="1186"/>
                </a:lnTo>
                <a:lnTo>
                  <a:pt x="1046" y="1186"/>
                </a:lnTo>
                <a:lnTo>
                  <a:pt x="1046" y="1186"/>
                </a:lnTo>
                <a:lnTo>
                  <a:pt x="1046" y="1185"/>
                </a:lnTo>
                <a:lnTo>
                  <a:pt x="1046" y="1185"/>
                </a:lnTo>
                <a:lnTo>
                  <a:pt x="1045" y="1183"/>
                </a:lnTo>
                <a:lnTo>
                  <a:pt x="1045" y="1183"/>
                </a:lnTo>
                <a:lnTo>
                  <a:pt x="1045" y="1185"/>
                </a:lnTo>
                <a:lnTo>
                  <a:pt x="1043" y="1185"/>
                </a:lnTo>
                <a:lnTo>
                  <a:pt x="1043" y="1185"/>
                </a:lnTo>
                <a:lnTo>
                  <a:pt x="1042" y="1185"/>
                </a:lnTo>
                <a:lnTo>
                  <a:pt x="1039" y="1186"/>
                </a:lnTo>
                <a:lnTo>
                  <a:pt x="1036" y="1186"/>
                </a:lnTo>
                <a:lnTo>
                  <a:pt x="1036" y="1186"/>
                </a:lnTo>
                <a:lnTo>
                  <a:pt x="1036" y="1186"/>
                </a:lnTo>
                <a:lnTo>
                  <a:pt x="1035" y="1187"/>
                </a:lnTo>
                <a:lnTo>
                  <a:pt x="1035" y="1187"/>
                </a:lnTo>
                <a:lnTo>
                  <a:pt x="1035" y="1187"/>
                </a:lnTo>
                <a:lnTo>
                  <a:pt x="1035" y="1187"/>
                </a:lnTo>
                <a:lnTo>
                  <a:pt x="1035" y="1187"/>
                </a:lnTo>
                <a:lnTo>
                  <a:pt x="1036" y="1187"/>
                </a:lnTo>
                <a:lnTo>
                  <a:pt x="1036" y="1189"/>
                </a:lnTo>
                <a:lnTo>
                  <a:pt x="1035" y="1189"/>
                </a:lnTo>
                <a:lnTo>
                  <a:pt x="1035" y="1190"/>
                </a:lnTo>
                <a:lnTo>
                  <a:pt x="1034" y="1190"/>
                </a:lnTo>
                <a:lnTo>
                  <a:pt x="1032" y="1190"/>
                </a:lnTo>
                <a:lnTo>
                  <a:pt x="1032" y="1190"/>
                </a:lnTo>
                <a:lnTo>
                  <a:pt x="1034" y="1191"/>
                </a:lnTo>
                <a:lnTo>
                  <a:pt x="1035" y="1191"/>
                </a:lnTo>
                <a:lnTo>
                  <a:pt x="1035" y="1191"/>
                </a:lnTo>
                <a:lnTo>
                  <a:pt x="1034" y="1193"/>
                </a:lnTo>
                <a:lnTo>
                  <a:pt x="1034" y="1193"/>
                </a:lnTo>
                <a:lnTo>
                  <a:pt x="1034" y="1191"/>
                </a:lnTo>
                <a:lnTo>
                  <a:pt x="1032" y="1193"/>
                </a:lnTo>
                <a:lnTo>
                  <a:pt x="1034" y="1194"/>
                </a:lnTo>
                <a:lnTo>
                  <a:pt x="1034" y="1194"/>
                </a:lnTo>
                <a:lnTo>
                  <a:pt x="1032" y="1196"/>
                </a:lnTo>
                <a:lnTo>
                  <a:pt x="1032" y="1196"/>
                </a:lnTo>
                <a:lnTo>
                  <a:pt x="1031" y="1196"/>
                </a:lnTo>
                <a:lnTo>
                  <a:pt x="1031" y="1196"/>
                </a:lnTo>
                <a:lnTo>
                  <a:pt x="1030" y="1196"/>
                </a:lnTo>
                <a:lnTo>
                  <a:pt x="1030" y="1196"/>
                </a:lnTo>
                <a:lnTo>
                  <a:pt x="1030" y="1196"/>
                </a:lnTo>
                <a:lnTo>
                  <a:pt x="1030" y="1197"/>
                </a:lnTo>
                <a:lnTo>
                  <a:pt x="1028" y="1197"/>
                </a:lnTo>
                <a:lnTo>
                  <a:pt x="1028" y="1196"/>
                </a:lnTo>
                <a:lnTo>
                  <a:pt x="1028" y="1196"/>
                </a:lnTo>
                <a:lnTo>
                  <a:pt x="1028" y="1194"/>
                </a:lnTo>
                <a:lnTo>
                  <a:pt x="1028" y="1194"/>
                </a:lnTo>
                <a:lnTo>
                  <a:pt x="1028" y="1194"/>
                </a:lnTo>
                <a:lnTo>
                  <a:pt x="1028" y="1194"/>
                </a:lnTo>
                <a:lnTo>
                  <a:pt x="1027" y="1194"/>
                </a:lnTo>
                <a:lnTo>
                  <a:pt x="1027" y="1193"/>
                </a:lnTo>
                <a:lnTo>
                  <a:pt x="1028" y="1193"/>
                </a:lnTo>
                <a:lnTo>
                  <a:pt x="1028" y="1193"/>
                </a:lnTo>
                <a:lnTo>
                  <a:pt x="1030" y="1191"/>
                </a:lnTo>
                <a:lnTo>
                  <a:pt x="1030" y="1191"/>
                </a:lnTo>
                <a:lnTo>
                  <a:pt x="1030" y="1191"/>
                </a:lnTo>
                <a:lnTo>
                  <a:pt x="1030" y="1190"/>
                </a:lnTo>
                <a:lnTo>
                  <a:pt x="1030" y="1189"/>
                </a:lnTo>
                <a:lnTo>
                  <a:pt x="1030" y="1189"/>
                </a:lnTo>
                <a:lnTo>
                  <a:pt x="1031" y="1187"/>
                </a:lnTo>
                <a:lnTo>
                  <a:pt x="1031" y="1186"/>
                </a:lnTo>
                <a:lnTo>
                  <a:pt x="1032" y="1185"/>
                </a:lnTo>
                <a:lnTo>
                  <a:pt x="1034" y="1183"/>
                </a:lnTo>
                <a:lnTo>
                  <a:pt x="1034" y="1182"/>
                </a:lnTo>
                <a:lnTo>
                  <a:pt x="1035" y="1181"/>
                </a:lnTo>
                <a:lnTo>
                  <a:pt x="1036" y="1179"/>
                </a:lnTo>
                <a:lnTo>
                  <a:pt x="1038" y="1178"/>
                </a:lnTo>
                <a:lnTo>
                  <a:pt x="1038" y="1178"/>
                </a:lnTo>
                <a:lnTo>
                  <a:pt x="1039" y="1177"/>
                </a:lnTo>
                <a:lnTo>
                  <a:pt x="1039" y="1177"/>
                </a:lnTo>
                <a:lnTo>
                  <a:pt x="1040" y="1177"/>
                </a:lnTo>
                <a:lnTo>
                  <a:pt x="1043" y="1174"/>
                </a:lnTo>
                <a:lnTo>
                  <a:pt x="1046" y="1171"/>
                </a:lnTo>
                <a:lnTo>
                  <a:pt x="1047" y="1170"/>
                </a:lnTo>
                <a:lnTo>
                  <a:pt x="1049" y="1170"/>
                </a:lnTo>
                <a:lnTo>
                  <a:pt x="1050" y="1170"/>
                </a:lnTo>
                <a:lnTo>
                  <a:pt x="1053" y="1171"/>
                </a:lnTo>
                <a:lnTo>
                  <a:pt x="1054" y="1171"/>
                </a:lnTo>
                <a:lnTo>
                  <a:pt x="1055" y="1171"/>
                </a:lnTo>
                <a:lnTo>
                  <a:pt x="1055" y="1177"/>
                </a:lnTo>
                <a:lnTo>
                  <a:pt x="1055" y="1178"/>
                </a:lnTo>
                <a:lnTo>
                  <a:pt x="1055" y="1179"/>
                </a:lnTo>
                <a:lnTo>
                  <a:pt x="1055" y="1179"/>
                </a:lnTo>
                <a:lnTo>
                  <a:pt x="1055" y="1179"/>
                </a:lnTo>
                <a:lnTo>
                  <a:pt x="1055" y="1179"/>
                </a:lnTo>
                <a:lnTo>
                  <a:pt x="1055" y="1181"/>
                </a:lnTo>
                <a:lnTo>
                  <a:pt x="1053" y="1182"/>
                </a:lnTo>
                <a:lnTo>
                  <a:pt x="1053" y="1182"/>
                </a:lnTo>
                <a:lnTo>
                  <a:pt x="1053" y="1181"/>
                </a:lnTo>
                <a:lnTo>
                  <a:pt x="1053" y="1181"/>
                </a:lnTo>
                <a:lnTo>
                  <a:pt x="1053" y="1181"/>
                </a:lnTo>
                <a:lnTo>
                  <a:pt x="1050" y="1181"/>
                </a:lnTo>
                <a:lnTo>
                  <a:pt x="1049" y="1182"/>
                </a:lnTo>
                <a:lnTo>
                  <a:pt x="1047" y="1182"/>
                </a:lnTo>
                <a:lnTo>
                  <a:pt x="1047" y="1182"/>
                </a:lnTo>
                <a:lnTo>
                  <a:pt x="1047" y="1182"/>
                </a:lnTo>
                <a:lnTo>
                  <a:pt x="1047" y="1182"/>
                </a:lnTo>
                <a:lnTo>
                  <a:pt x="1047" y="1183"/>
                </a:lnTo>
                <a:lnTo>
                  <a:pt x="1047" y="1183"/>
                </a:lnTo>
                <a:lnTo>
                  <a:pt x="1047" y="1183"/>
                </a:lnTo>
                <a:lnTo>
                  <a:pt x="1047" y="1183"/>
                </a:lnTo>
                <a:lnTo>
                  <a:pt x="1049" y="1183"/>
                </a:lnTo>
                <a:lnTo>
                  <a:pt x="1049" y="1185"/>
                </a:lnTo>
                <a:lnTo>
                  <a:pt x="1049" y="1185"/>
                </a:lnTo>
                <a:lnTo>
                  <a:pt x="1049" y="1185"/>
                </a:lnTo>
                <a:lnTo>
                  <a:pt x="1050" y="1185"/>
                </a:lnTo>
                <a:lnTo>
                  <a:pt x="1054" y="1183"/>
                </a:lnTo>
                <a:lnTo>
                  <a:pt x="1058" y="1181"/>
                </a:lnTo>
                <a:lnTo>
                  <a:pt x="1059" y="1181"/>
                </a:lnTo>
                <a:lnTo>
                  <a:pt x="1059" y="1181"/>
                </a:lnTo>
                <a:lnTo>
                  <a:pt x="1059" y="1181"/>
                </a:lnTo>
                <a:lnTo>
                  <a:pt x="1058" y="1182"/>
                </a:lnTo>
                <a:lnTo>
                  <a:pt x="1062" y="1179"/>
                </a:lnTo>
                <a:lnTo>
                  <a:pt x="1065" y="1179"/>
                </a:lnTo>
                <a:lnTo>
                  <a:pt x="1065" y="1179"/>
                </a:lnTo>
                <a:lnTo>
                  <a:pt x="1066" y="1178"/>
                </a:lnTo>
                <a:lnTo>
                  <a:pt x="1068" y="1178"/>
                </a:lnTo>
                <a:lnTo>
                  <a:pt x="1069" y="1178"/>
                </a:lnTo>
                <a:lnTo>
                  <a:pt x="1070" y="1178"/>
                </a:lnTo>
                <a:lnTo>
                  <a:pt x="1072" y="1177"/>
                </a:lnTo>
                <a:lnTo>
                  <a:pt x="1074" y="1177"/>
                </a:lnTo>
                <a:lnTo>
                  <a:pt x="1083" y="1174"/>
                </a:lnTo>
                <a:lnTo>
                  <a:pt x="1084" y="1174"/>
                </a:lnTo>
                <a:lnTo>
                  <a:pt x="1084" y="1174"/>
                </a:lnTo>
                <a:lnTo>
                  <a:pt x="1084" y="1172"/>
                </a:lnTo>
                <a:lnTo>
                  <a:pt x="1085" y="1172"/>
                </a:lnTo>
                <a:lnTo>
                  <a:pt x="1085" y="1172"/>
                </a:lnTo>
                <a:lnTo>
                  <a:pt x="1087" y="1174"/>
                </a:lnTo>
                <a:lnTo>
                  <a:pt x="1087" y="1174"/>
                </a:lnTo>
                <a:lnTo>
                  <a:pt x="1088" y="1172"/>
                </a:lnTo>
                <a:lnTo>
                  <a:pt x="1098" y="1170"/>
                </a:lnTo>
                <a:lnTo>
                  <a:pt x="1104" y="1166"/>
                </a:lnTo>
                <a:lnTo>
                  <a:pt x="1103" y="1166"/>
                </a:lnTo>
                <a:lnTo>
                  <a:pt x="1102" y="1164"/>
                </a:lnTo>
                <a:lnTo>
                  <a:pt x="1102" y="1164"/>
                </a:lnTo>
                <a:lnTo>
                  <a:pt x="1100" y="1164"/>
                </a:lnTo>
                <a:lnTo>
                  <a:pt x="1100" y="1164"/>
                </a:lnTo>
                <a:lnTo>
                  <a:pt x="1100" y="1164"/>
                </a:lnTo>
                <a:lnTo>
                  <a:pt x="1099" y="1163"/>
                </a:lnTo>
                <a:lnTo>
                  <a:pt x="1099" y="1163"/>
                </a:lnTo>
                <a:lnTo>
                  <a:pt x="1099" y="1163"/>
                </a:lnTo>
                <a:lnTo>
                  <a:pt x="1099" y="1163"/>
                </a:lnTo>
                <a:lnTo>
                  <a:pt x="1099" y="1162"/>
                </a:lnTo>
                <a:lnTo>
                  <a:pt x="1099" y="1162"/>
                </a:lnTo>
                <a:lnTo>
                  <a:pt x="1098" y="1162"/>
                </a:lnTo>
                <a:lnTo>
                  <a:pt x="1098" y="1162"/>
                </a:lnTo>
                <a:lnTo>
                  <a:pt x="1095" y="1162"/>
                </a:lnTo>
                <a:lnTo>
                  <a:pt x="1095" y="1162"/>
                </a:lnTo>
                <a:lnTo>
                  <a:pt x="1093" y="1160"/>
                </a:lnTo>
                <a:lnTo>
                  <a:pt x="1092" y="1159"/>
                </a:lnTo>
                <a:lnTo>
                  <a:pt x="1091" y="1159"/>
                </a:lnTo>
                <a:lnTo>
                  <a:pt x="1091" y="1157"/>
                </a:lnTo>
                <a:lnTo>
                  <a:pt x="1091" y="1156"/>
                </a:lnTo>
                <a:lnTo>
                  <a:pt x="1091" y="1155"/>
                </a:lnTo>
                <a:lnTo>
                  <a:pt x="1091" y="1155"/>
                </a:lnTo>
                <a:lnTo>
                  <a:pt x="1091" y="1155"/>
                </a:lnTo>
                <a:lnTo>
                  <a:pt x="1092" y="1156"/>
                </a:lnTo>
                <a:lnTo>
                  <a:pt x="1092" y="1157"/>
                </a:lnTo>
                <a:lnTo>
                  <a:pt x="1093" y="1159"/>
                </a:lnTo>
                <a:lnTo>
                  <a:pt x="1093" y="1159"/>
                </a:lnTo>
                <a:lnTo>
                  <a:pt x="1095" y="1159"/>
                </a:lnTo>
                <a:lnTo>
                  <a:pt x="1095" y="1160"/>
                </a:lnTo>
                <a:lnTo>
                  <a:pt x="1098" y="1159"/>
                </a:lnTo>
                <a:lnTo>
                  <a:pt x="1103" y="1163"/>
                </a:lnTo>
                <a:lnTo>
                  <a:pt x="1106" y="1164"/>
                </a:lnTo>
                <a:lnTo>
                  <a:pt x="1107" y="1164"/>
                </a:lnTo>
                <a:lnTo>
                  <a:pt x="1107" y="1164"/>
                </a:lnTo>
                <a:lnTo>
                  <a:pt x="1106" y="1163"/>
                </a:lnTo>
                <a:lnTo>
                  <a:pt x="1106" y="1163"/>
                </a:lnTo>
                <a:lnTo>
                  <a:pt x="1106" y="1163"/>
                </a:lnTo>
                <a:lnTo>
                  <a:pt x="1107" y="1162"/>
                </a:lnTo>
                <a:lnTo>
                  <a:pt x="1110" y="1157"/>
                </a:lnTo>
                <a:lnTo>
                  <a:pt x="1110" y="1156"/>
                </a:lnTo>
                <a:lnTo>
                  <a:pt x="1111" y="1156"/>
                </a:lnTo>
                <a:lnTo>
                  <a:pt x="1111" y="1152"/>
                </a:lnTo>
                <a:lnTo>
                  <a:pt x="1111" y="1152"/>
                </a:lnTo>
                <a:lnTo>
                  <a:pt x="1113" y="1151"/>
                </a:lnTo>
                <a:lnTo>
                  <a:pt x="1114" y="1151"/>
                </a:lnTo>
                <a:lnTo>
                  <a:pt x="1117" y="1149"/>
                </a:lnTo>
                <a:lnTo>
                  <a:pt x="1119" y="1149"/>
                </a:lnTo>
                <a:lnTo>
                  <a:pt x="1125" y="1145"/>
                </a:lnTo>
                <a:lnTo>
                  <a:pt x="1128" y="1144"/>
                </a:lnTo>
                <a:lnTo>
                  <a:pt x="1125" y="1145"/>
                </a:lnTo>
                <a:lnTo>
                  <a:pt x="1123" y="1145"/>
                </a:lnTo>
                <a:lnTo>
                  <a:pt x="1123" y="1145"/>
                </a:lnTo>
                <a:lnTo>
                  <a:pt x="1123" y="1144"/>
                </a:lnTo>
                <a:lnTo>
                  <a:pt x="1125" y="1144"/>
                </a:lnTo>
                <a:lnTo>
                  <a:pt x="1126" y="1143"/>
                </a:lnTo>
                <a:lnTo>
                  <a:pt x="1128" y="1143"/>
                </a:lnTo>
                <a:lnTo>
                  <a:pt x="1128" y="1141"/>
                </a:lnTo>
                <a:lnTo>
                  <a:pt x="1130" y="1140"/>
                </a:lnTo>
                <a:lnTo>
                  <a:pt x="1130" y="1137"/>
                </a:lnTo>
                <a:lnTo>
                  <a:pt x="1130" y="1136"/>
                </a:lnTo>
                <a:lnTo>
                  <a:pt x="1129" y="1137"/>
                </a:lnTo>
                <a:lnTo>
                  <a:pt x="1129" y="1138"/>
                </a:lnTo>
                <a:lnTo>
                  <a:pt x="1129" y="1138"/>
                </a:lnTo>
                <a:lnTo>
                  <a:pt x="1128" y="1138"/>
                </a:lnTo>
                <a:lnTo>
                  <a:pt x="1128" y="1138"/>
                </a:lnTo>
                <a:lnTo>
                  <a:pt x="1126" y="1140"/>
                </a:lnTo>
                <a:lnTo>
                  <a:pt x="1125" y="1140"/>
                </a:lnTo>
                <a:lnTo>
                  <a:pt x="1125" y="1136"/>
                </a:lnTo>
                <a:lnTo>
                  <a:pt x="1126" y="1134"/>
                </a:lnTo>
                <a:lnTo>
                  <a:pt x="1128" y="1133"/>
                </a:lnTo>
                <a:lnTo>
                  <a:pt x="1129" y="1132"/>
                </a:lnTo>
                <a:lnTo>
                  <a:pt x="1137" y="1123"/>
                </a:lnTo>
                <a:lnTo>
                  <a:pt x="1141" y="1123"/>
                </a:lnTo>
                <a:lnTo>
                  <a:pt x="1142" y="1122"/>
                </a:lnTo>
                <a:lnTo>
                  <a:pt x="1144" y="1121"/>
                </a:lnTo>
                <a:lnTo>
                  <a:pt x="1145" y="1119"/>
                </a:lnTo>
                <a:lnTo>
                  <a:pt x="1144" y="1119"/>
                </a:lnTo>
                <a:lnTo>
                  <a:pt x="1144" y="1121"/>
                </a:lnTo>
                <a:lnTo>
                  <a:pt x="1141" y="1121"/>
                </a:lnTo>
                <a:lnTo>
                  <a:pt x="1141" y="1121"/>
                </a:lnTo>
                <a:lnTo>
                  <a:pt x="1141" y="1121"/>
                </a:lnTo>
                <a:lnTo>
                  <a:pt x="1141" y="1121"/>
                </a:lnTo>
                <a:lnTo>
                  <a:pt x="1141" y="1121"/>
                </a:lnTo>
                <a:lnTo>
                  <a:pt x="1140" y="1119"/>
                </a:lnTo>
                <a:lnTo>
                  <a:pt x="1140" y="1119"/>
                </a:lnTo>
                <a:lnTo>
                  <a:pt x="1140" y="1119"/>
                </a:lnTo>
                <a:lnTo>
                  <a:pt x="1138" y="1119"/>
                </a:lnTo>
                <a:lnTo>
                  <a:pt x="1138" y="1118"/>
                </a:lnTo>
                <a:lnTo>
                  <a:pt x="1140" y="1118"/>
                </a:lnTo>
                <a:lnTo>
                  <a:pt x="1141" y="1118"/>
                </a:lnTo>
                <a:lnTo>
                  <a:pt x="1141" y="1119"/>
                </a:lnTo>
                <a:lnTo>
                  <a:pt x="1142" y="1118"/>
                </a:lnTo>
                <a:lnTo>
                  <a:pt x="1142" y="1118"/>
                </a:lnTo>
                <a:lnTo>
                  <a:pt x="1142" y="1117"/>
                </a:lnTo>
                <a:lnTo>
                  <a:pt x="1141" y="1117"/>
                </a:lnTo>
                <a:lnTo>
                  <a:pt x="1141" y="1115"/>
                </a:lnTo>
                <a:lnTo>
                  <a:pt x="1141" y="1115"/>
                </a:lnTo>
                <a:lnTo>
                  <a:pt x="1140" y="1115"/>
                </a:lnTo>
                <a:lnTo>
                  <a:pt x="1137" y="1115"/>
                </a:lnTo>
                <a:lnTo>
                  <a:pt x="1136" y="1115"/>
                </a:lnTo>
                <a:lnTo>
                  <a:pt x="1134" y="1114"/>
                </a:lnTo>
                <a:lnTo>
                  <a:pt x="1137" y="1114"/>
                </a:lnTo>
                <a:lnTo>
                  <a:pt x="1138" y="1114"/>
                </a:lnTo>
                <a:lnTo>
                  <a:pt x="1140" y="1114"/>
                </a:lnTo>
                <a:lnTo>
                  <a:pt x="1140" y="1113"/>
                </a:lnTo>
                <a:lnTo>
                  <a:pt x="1140" y="1110"/>
                </a:lnTo>
                <a:lnTo>
                  <a:pt x="1133" y="1095"/>
                </a:lnTo>
                <a:lnTo>
                  <a:pt x="1132" y="1089"/>
                </a:lnTo>
                <a:lnTo>
                  <a:pt x="1134" y="1084"/>
                </a:lnTo>
                <a:lnTo>
                  <a:pt x="1137" y="1079"/>
                </a:lnTo>
                <a:lnTo>
                  <a:pt x="1147" y="1069"/>
                </a:lnTo>
                <a:lnTo>
                  <a:pt x="1149" y="1068"/>
                </a:lnTo>
                <a:lnTo>
                  <a:pt x="1155" y="1065"/>
                </a:lnTo>
                <a:lnTo>
                  <a:pt x="1155" y="1065"/>
                </a:lnTo>
                <a:lnTo>
                  <a:pt x="1156" y="1065"/>
                </a:lnTo>
                <a:lnTo>
                  <a:pt x="1157" y="1065"/>
                </a:lnTo>
                <a:lnTo>
                  <a:pt x="1157" y="1064"/>
                </a:lnTo>
                <a:lnTo>
                  <a:pt x="1160" y="1065"/>
                </a:lnTo>
                <a:lnTo>
                  <a:pt x="1163" y="1064"/>
                </a:lnTo>
                <a:lnTo>
                  <a:pt x="1167" y="1062"/>
                </a:lnTo>
                <a:lnTo>
                  <a:pt x="1171" y="1061"/>
                </a:lnTo>
                <a:lnTo>
                  <a:pt x="1171" y="1061"/>
                </a:lnTo>
                <a:lnTo>
                  <a:pt x="1179" y="1058"/>
                </a:lnTo>
                <a:lnTo>
                  <a:pt x="1181" y="1058"/>
                </a:lnTo>
                <a:lnTo>
                  <a:pt x="1183" y="1058"/>
                </a:lnTo>
                <a:lnTo>
                  <a:pt x="1185" y="1058"/>
                </a:lnTo>
                <a:lnTo>
                  <a:pt x="1187" y="1055"/>
                </a:lnTo>
                <a:lnTo>
                  <a:pt x="1193" y="1053"/>
                </a:lnTo>
                <a:lnTo>
                  <a:pt x="1194" y="1051"/>
                </a:lnTo>
                <a:lnTo>
                  <a:pt x="1196" y="1050"/>
                </a:lnTo>
                <a:lnTo>
                  <a:pt x="1197" y="1050"/>
                </a:lnTo>
                <a:lnTo>
                  <a:pt x="1197" y="1050"/>
                </a:lnTo>
                <a:lnTo>
                  <a:pt x="1197" y="1049"/>
                </a:lnTo>
                <a:lnTo>
                  <a:pt x="1197" y="1049"/>
                </a:lnTo>
                <a:lnTo>
                  <a:pt x="1197" y="1049"/>
                </a:lnTo>
                <a:lnTo>
                  <a:pt x="1200" y="1047"/>
                </a:lnTo>
                <a:lnTo>
                  <a:pt x="1200" y="1047"/>
                </a:lnTo>
                <a:lnTo>
                  <a:pt x="1201" y="1046"/>
                </a:lnTo>
                <a:lnTo>
                  <a:pt x="1202" y="1046"/>
                </a:lnTo>
                <a:lnTo>
                  <a:pt x="1205" y="1039"/>
                </a:lnTo>
                <a:lnTo>
                  <a:pt x="1205" y="1038"/>
                </a:lnTo>
                <a:lnTo>
                  <a:pt x="1205" y="1036"/>
                </a:lnTo>
                <a:lnTo>
                  <a:pt x="1205" y="1036"/>
                </a:lnTo>
                <a:lnTo>
                  <a:pt x="1205" y="1035"/>
                </a:lnTo>
                <a:lnTo>
                  <a:pt x="1205" y="1035"/>
                </a:lnTo>
                <a:lnTo>
                  <a:pt x="1205" y="1035"/>
                </a:lnTo>
                <a:lnTo>
                  <a:pt x="1208" y="1035"/>
                </a:lnTo>
                <a:lnTo>
                  <a:pt x="1209" y="1034"/>
                </a:lnTo>
                <a:lnTo>
                  <a:pt x="1210" y="1032"/>
                </a:lnTo>
                <a:lnTo>
                  <a:pt x="1213" y="1030"/>
                </a:lnTo>
                <a:lnTo>
                  <a:pt x="1213" y="1028"/>
                </a:lnTo>
                <a:lnTo>
                  <a:pt x="1212" y="1026"/>
                </a:lnTo>
                <a:lnTo>
                  <a:pt x="1210" y="1024"/>
                </a:lnTo>
                <a:lnTo>
                  <a:pt x="1208" y="1024"/>
                </a:lnTo>
                <a:lnTo>
                  <a:pt x="1206" y="1023"/>
                </a:lnTo>
                <a:lnTo>
                  <a:pt x="1204" y="1023"/>
                </a:lnTo>
                <a:lnTo>
                  <a:pt x="1204" y="1023"/>
                </a:lnTo>
                <a:lnTo>
                  <a:pt x="1202" y="1021"/>
                </a:lnTo>
                <a:lnTo>
                  <a:pt x="1201" y="1020"/>
                </a:lnTo>
                <a:lnTo>
                  <a:pt x="1200" y="1019"/>
                </a:lnTo>
                <a:lnTo>
                  <a:pt x="1200" y="1019"/>
                </a:lnTo>
                <a:lnTo>
                  <a:pt x="1198" y="1013"/>
                </a:lnTo>
                <a:lnTo>
                  <a:pt x="1198" y="1011"/>
                </a:lnTo>
                <a:lnTo>
                  <a:pt x="1197" y="1009"/>
                </a:lnTo>
                <a:lnTo>
                  <a:pt x="1197" y="1009"/>
                </a:lnTo>
                <a:lnTo>
                  <a:pt x="1198" y="1009"/>
                </a:lnTo>
                <a:lnTo>
                  <a:pt x="1200" y="1009"/>
                </a:lnTo>
                <a:lnTo>
                  <a:pt x="1200" y="1011"/>
                </a:lnTo>
                <a:lnTo>
                  <a:pt x="1200" y="1012"/>
                </a:lnTo>
                <a:lnTo>
                  <a:pt x="1200" y="1013"/>
                </a:lnTo>
                <a:lnTo>
                  <a:pt x="1201" y="1016"/>
                </a:lnTo>
                <a:lnTo>
                  <a:pt x="1201" y="1017"/>
                </a:lnTo>
                <a:lnTo>
                  <a:pt x="1201" y="1017"/>
                </a:lnTo>
                <a:lnTo>
                  <a:pt x="1202" y="1019"/>
                </a:lnTo>
                <a:lnTo>
                  <a:pt x="1204" y="1020"/>
                </a:lnTo>
                <a:lnTo>
                  <a:pt x="1204" y="1021"/>
                </a:lnTo>
                <a:lnTo>
                  <a:pt x="1205" y="1021"/>
                </a:lnTo>
                <a:lnTo>
                  <a:pt x="1206" y="1021"/>
                </a:lnTo>
                <a:lnTo>
                  <a:pt x="1208" y="1020"/>
                </a:lnTo>
                <a:lnTo>
                  <a:pt x="1208" y="1021"/>
                </a:lnTo>
                <a:lnTo>
                  <a:pt x="1210" y="1023"/>
                </a:lnTo>
                <a:lnTo>
                  <a:pt x="1213" y="1024"/>
                </a:lnTo>
                <a:lnTo>
                  <a:pt x="1215" y="1026"/>
                </a:lnTo>
                <a:lnTo>
                  <a:pt x="1215" y="1026"/>
                </a:lnTo>
                <a:lnTo>
                  <a:pt x="1216" y="1030"/>
                </a:lnTo>
                <a:lnTo>
                  <a:pt x="1216" y="1031"/>
                </a:lnTo>
                <a:lnTo>
                  <a:pt x="1215" y="1032"/>
                </a:lnTo>
                <a:lnTo>
                  <a:pt x="1213" y="1036"/>
                </a:lnTo>
                <a:lnTo>
                  <a:pt x="1212" y="1036"/>
                </a:lnTo>
                <a:lnTo>
                  <a:pt x="1212" y="1038"/>
                </a:lnTo>
                <a:lnTo>
                  <a:pt x="1212" y="1039"/>
                </a:lnTo>
                <a:lnTo>
                  <a:pt x="1212" y="1042"/>
                </a:lnTo>
                <a:lnTo>
                  <a:pt x="1212" y="1042"/>
                </a:lnTo>
                <a:lnTo>
                  <a:pt x="1212" y="1043"/>
                </a:lnTo>
                <a:lnTo>
                  <a:pt x="1215" y="1049"/>
                </a:lnTo>
                <a:lnTo>
                  <a:pt x="1216" y="1050"/>
                </a:lnTo>
                <a:lnTo>
                  <a:pt x="1215" y="1050"/>
                </a:lnTo>
                <a:lnTo>
                  <a:pt x="1216" y="1053"/>
                </a:lnTo>
                <a:lnTo>
                  <a:pt x="1215" y="1054"/>
                </a:lnTo>
                <a:lnTo>
                  <a:pt x="1215" y="1055"/>
                </a:lnTo>
                <a:lnTo>
                  <a:pt x="1213" y="1057"/>
                </a:lnTo>
                <a:lnTo>
                  <a:pt x="1213" y="1057"/>
                </a:lnTo>
                <a:lnTo>
                  <a:pt x="1215" y="1060"/>
                </a:lnTo>
                <a:lnTo>
                  <a:pt x="1215" y="1061"/>
                </a:lnTo>
                <a:lnTo>
                  <a:pt x="1216" y="1061"/>
                </a:lnTo>
                <a:lnTo>
                  <a:pt x="1217" y="1061"/>
                </a:lnTo>
                <a:lnTo>
                  <a:pt x="1217" y="1062"/>
                </a:lnTo>
                <a:lnTo>
                  <a:pt x="1217" y="1064"/>
                </a:lnTo>
                <a:lnTo>
                  <a:pt x="1219" y="1065"/>
                </a:lnTo>
                <a:lnTo>
                  <a:pt x="1219" y="1065"/>
                </a:lnTo>
                <a:lnTo>
                  <a:pt x="1220" y="1065"/>
                </a:lnTo>
                <a:lnTo>
                  <a:pt x="1220" y="1064"/>
                </a:lnTo>
                <a:lnTo>
                  <a:pt x="1220" y="1064"/>
                </a:lnTo>
                <a:lnTo>
                  <a:pt x="1221" y="1064"/>
                </a:lnTo>
                <a:lnTo>
                  <a:pt x="1221" y="1064"/>
                </a:lnTo>
                <a:lnTo>
                  <a:pt x="1221" y="1062"/>
                </a:lnTo>
                <a:lnTo>
                  <a:pt x="1221" y="1062"/>
                </a:lnTo>
                <a:lnTo>
                  <a:pt x="1220" y="1062"/>
                </a:lnTo>
                <a:lnTo>
                  <a:pt x="1220" y="1061"/>
                </a:lnTo>
                <a:lnTo>
                  <a:pt x="1220" y="1061"/>
                </a:lnTo>
                <a:lnTo>
                  <a:pt x="1220" y="1060"/>
                </a:lnTo>
                <a:lnTo>
                  <a:pt x="1220" y="1058"/>
                </a:lnTo>
                <a:lnTo>
                  <a:pt x="1220" y="1057"/>
                </a:lnTo>
                <a:lnTo>
                  <a:pt x="1219" y="1050"/>
                </a:lnTo>
                <a:lnTo>
                  <a:pt x="1219" y="1049"/>
                </a:lnTo>
                <a:lnTo>
                  <a:pt x="1219" y="1049"/>
                </a:lnTo>
                <a:lnTo>
                  <a:pt x="1220" y="1050"/>
                </a:lnTo>
                <a:lnTo>
                  <a:pt x="1221" y="1051"/>
                </a:lnTo>
                <a:lnTo>
                  <a:pt x="1221" y="1053"/>
                </a:lnTo>
                <a:lnTo>
                  <a:pt x="1221" y="1060"/>
                </a:lnTo>
                <a:lnTo>
                  <a:pt x="1221" y="1061"/>
                </a:lnTo>
                <a:lnTo>
                  <a:pt x="1223" y="1061"/>
                </a:lnTo>
                <a:lnTo>
                  <a:pt x="1223" y="1061"/>
                </a:lnTo>
                <a:lnTo>
                  <a:pt x="1224" y="1060"/>
                </a:lnTo>
                <a:lnTo>
                  <a:pt x="1224" y="1058"/>
                </a:lnTo>
                <a:lnTo>
                  <a:pt x="1224" y="1058"/>
                </a:lnTo>
                <a:lnTo>
                  <a:pt x="1224" y="1057"/>
                </a:lnTo>
                <a:lnTo>
                  <a:pt x="1223" y="1055"/>
                </a:lnTo>
                <a:lnTo>
                  <a:pt x="1223" y="1055"/>
                </a:lnTo>
                <a:lnTo>
                  <a:pt x="1223" y="1054"/>
                </a:lnTo>
                <a:lnTo>
                  <a:pt x="1223" y="1054"/>
                </a:lnTo>
                <a:lnTo>
                  <a:pt x="1223" y="1054"/>
                </a:lnTo>
                <a:lnTo>
                  <a:pt x="1223" y="1055"/>
                </a:lnTo>
                <a:lnTo>
                  <a:pt x="1224" y="1055"/>
                </a:lnTo>
                <a:lnTo>
                  <a:pt x="1224" y="1057"/>
                </a:lnTo>
                <a:lnTo>
                  <a:pt x="1224" y="1055"/>
                </a:lnTo>
                <a:lnTo>
                  <a:pt x="1225" y="1055"/>
                </a:lnTo>
                <a:lnTo>
                  <a:pt x="1227" y="1055"/>
                </a:lnTo>
                <a:lnTo>
                  <a:pt x="1225" y="1057"/>
                </a:lnTo>
                <a:lnTo>
                  <a:pt x="1225" y="1060"/>
                </a:lnTo>
                <a:lnTo>
                  <a:pt x="1227" y="1062"/>
                </a:lnTo>
                <a:lnTo>
                  <a:pt x="1227" y="1062"/>
                </a:lnTo>
                <a:lnTo>
                  <a:pt x="1228" y="1061"/>
                </a:lnTo>
                <a:lnTo>
                  <a:pt x="1230" y="1061"/>
                </a:lnTo>
                <a:lnTo>
                  <a:pt x="1231" y="1060"/>
                </a:lnTo>
                <a:lnTo>
                  <a:pt x="1231" y="1058"/>
                </a:lnTo>
                <a:lnTo>
                  <a:pt x="1231" y="1058"/>
                </a:lnTo>
                <a:lnTo>
                  <a:pt x="1231" y="1057"/>
                </a:lnTo>
                <a:lnTo>
                  <a:pt x="1230" y="1055"/>
                </a:lnTo>
                <a:lnTo>
                  <a:pt x="1230" y="1054"/>
                </a:lnTo>
                <a:lnTo>
                  <a:pt x="1230" y="1053"/>
                </a:lnTo>
                <a:lnTo>
                  <a:pt x="1231" y="1051"/>
                </a:lnTo>
                <a:lnTo>
                  <a:pt x="1231" y="1050"/>
                </a:lnTo>
                <a:lnTo>
                  <a:pt x="1231" y="1049"/>
                </a:lnTo>
                <a:lnTo>
                  <a:pt x="1232" y="1049"/>
                </a:lnTo>
                <a:lnTo>
                  <a:pt x="1232" y="1049"/>
                </a:lnTo>
                <a:lnTo>
                  <a:pt x="1232" y="1049"/>
                </a:lnTo>
                <a:lnTo>
                  <a:pt x="1232" y="1047"/>
                </a:lnTo>
                <a:lnTo>
                  <a:pt x="1232" y="1046"/>
                </a:lnTo>
                <a:lnTo>
                  <a:pt x="1231" y="1045"/>
                </a:lnTo>
                <a:lnTo>
                  <a:pt x="1231" y="1043"/>
                </a:lnTo>
                <a:lnTo>
                  <a:pt x="1232" y="1042"/>
                </a:lnTo>
                <a:lnTo>
                  <a:pt x="1232" y="1041"/>
                </a:lnTo>
                <a:lnTo>
                  <a:pt x="1234" y="1041"/>
                </a:lnTo>
                <a:lnTo>
                  <a:pt x="1232" y="1039"/>
                </a:lnTo>
                <a:lnTo>
                  <a:pt x="1234" y="1041"/>
                </a:lnTo>
                <a:lnTo>
                  <a:pt x="1234" y="1042"/>
                </a:lnTo>
                <a:lnTo>
                  <a:pt x="1232" y="1043"/>
                </a:lnTo>
                <a:lnTo>
                  <a:pt x="1234" y="1046"/>
                </a:lnTo>
                <a:lnTo>
                  <a:pt x="1235" y="1047"/>
                </a:lnTo>
                <a:lnTo>
                  <a:pt x="1235" y="1049"/>
                </a:lnTo>
                <a:lnTo>
                  <a:pt x="1234" y="1051"/>
                </a:lnTo>
                <a:lnTo>
                  <a:pt x="1234" y="1053"/>
                </a:lnTo>
                <a:lnTo>
                  <a:pt x="1234" y="1054"/>
                </a:lnTo>
                <a:lnTo>
                  <a:pt x="1235" y="1058"/>
                </a:lnTo>
                <a:lnTo>
                  <a:pt x="1235" y="1058"/>
                </a:lnTo>
                <a:lnTo>
                  <a:pt x="1234" y="1060"/>
                </a:lnTo>
                <a:lnTo>
                  <a:pt x="1234" y="1060"/>
                </a:lnTo>
                <a:lnTo>
                  <a:pt x="1234" y="1061"/>
                </a:lnTo>
                <a:lnTo>
                  <a:pt x="1234" y="1061"/>
                </a:lnTo>
                <a:lnTo>
                  <a:pt x="1234" y="1062"/>
                </a:lnTo>
                <a:lnTo>
                  <a:pt x="1234" y="1062"/>
                </a:lnTo>
                <a:lnTo>
                  <a:pt x="1232" y="1062"/>
                </a:lnTo>
                <a:lnTo>
                  <a:pt x="1232" y="1065"/>
                </a:lnTo>
                <a:lnTo>
                  <a:pt x="1232" y="1066"/>
                </a:lnTo>
                <a:lnTo>
                  <a:pt x="1234" y="1066"/>
                </a:lnTo>
                <a:lnTo>
                  <a:pt x="1235" y="1066"/>
                </a:lnTo>
                <a:lnTo>
                  <a:pt x="1235" y="1065"/>
                </a:lnTo>
                <a:lnTo>
                  <a:pt x="1235" y="1065"/>
                </a:lnTo>
                <a:lnTo>
                  <a:pt x="1235" y="1064"/>
                </a:lnTo>
                <a:lnTo>
                  <a:pt x="1235" y="1064"/>
                </a:lnTo>
                <a:lnTo>
                  <a:pt x="1235" y="1064"/>
                </a:lnTo>
                <a:lnTo>
                  <a:pt x="1236" y="1065"/>
                </a:lnTo>
                <a:lnTo>
                  <a:pt x="1238" y="1065"/>
                </a:lnTo>
                <a:lnTo>
                  <a:pt x="1238" y="1064"/>
                </a:lnTo>
                <a:lnTo>
                  <a:pt x="1238" y="1060"/>
                </a:lnTo>
                <a:lnTo>
                  <a:pt x="1239" y="1061"/>
                </a:lnTo>
                <a:lnTo>
                  <a:pt x="1239" y="1060"/>
                </a:lnTo>
                <a:lnTo>
                  <a:pt x="1239" y="1055"/>
                </a:lnTo>
                <a:lnTo>
                  <a:pt x="1239" y="1055"/>
                </a:lnTo>
                <a:lnTo>
                  <a:pt x="1240" y="1055"/>
                </a:lnTo>
                <a:lnTo>
                  <a:pt x="1240" y="1054"/>
                </a:lnTo>
                <a:lnTo>
                  <a:pt x="1240" y="1053"/>
                </a:lnTo>
                <a:lnTo>
                  <a:pt x="1240" y="1051"/>
                </a:lnTo>
                <a:lnTo>
                  <a:pt x="1240" y="1050"/>
                </a:lnTo>
                <a:lnTo>
                  <a:pt x="1239" y="1050"/>
                </a:lnTo>
                <a:lnTo>
                  <a:pt x="1238" y="1051"/>
                </a:lnTo>
                <a:lnTo>
                  <a:pt x="1236" y="1051"/>
                </a:lnTo>
                <a:lnTo>
                  <a:pt x="1236" y="1050"/>
                </a:lnTo>
                <a:lnTo>
                  <a:pt x="1236" y="1047"/>
                </a:lnTo>
                <a:lnTo>
                  <a:pt x="1236" y="1046"/>
                </a:lnTo>
                <a:lnTo>
                  <a:pt x="1239" y="1041"/>
                </a:lnTo>
                <a:lnTo>
                  <a:pt x="1239" y="1039"/>
                </a:lnTo>
                <a:lnTo>
                  <a:pt x="1239" y="1036"/>
                </a:lnTo>
                <a:lnTo>
                  <a:pt x="1239" y="1035"/>
                </a:lnTo>
                <a:lnTo>
                  <a:pt x="1240" y="1034"/>
                </a:lnTo>
                <a:lnTo>
                  <a:pt x="1240" y="1032"/>
                </a:lnTo>
                <a:lnTo>
                  <a:pt x="1240" y="1032"/>
                </a:lnTo>
                <a:lnTo>
                  <a:pt x="1240" y="1031"/>
                </a:lnTo>
                <a:lnTo>
                  <a:pt x="1240" y="1030"/>
                </a:lnTo>
                <a:lnTo>
                  <a:pt x="1240" y="1028"/>
                </a:lnTo>
                <a:lnTo>
                  <a:pt x="1240" y="1028"/>
                </a:lnTo>
                <a:lnTo>
                  <a:pt x="1240" y="1028"/>
                </a:lnTo>
                <a:lnTo>
                  <a:pt x="1240" y="1027"/>
                </a:lnTo>
                <a:lnTo>
                  <a:pt x="1242" y="1026"/>
                </a:lnTo>
                <a:lnTo>
                  <a:pt x="1242" y="1026"/>
                </a:lnTo>
                <a:lnTo>
                  <a:pt x="1242" y="1026"/>
                </a:lnTo>
                <a:lnTo>
                  <a:pt x="1242" y="1024"/>
                </a:lnTo>
                <a:lnTo>
                  <a:pt x="1243" y="1023"/>
                </a:lnTo>
                <a:lnTo>
                  <a:pt x="1243" y="1023"/>
                </a:lnTo>
                <a:lnTo>
                  <a:pt x="1244" y="1023"/>
                </a:lnTo>
                <a:lnTo>
                  <a:pt x="1244" y="1024"/>
                </a:lnTo>
                <a:lnTo>
                  <a:pt x="1243" y="1026"/>
                </a:lnTo>
                <a:lnTo>
                  <a:pt x="1242" y="1027"/>
                </a:lnTo>
                <a:lnTo>
                  <a:pt x="1242" y="1028"/>
                </a:lnTo>
                <a:lnTo>
                  <a:pt x="1242" y="1030"/>
                </a:lnTo>
                <a:lnTo>
                  <a:pt x="1242" y="1031"/>
                </a:lnTo>
                <a:lnTo>
                  <a:pt x="1242" y="1032"/>
                </a:lnTo>
                <a:lnTo>
                  <a:pt x="1242" y="1034"/>
                </a:lnTo>
                <a:lnTo>
                  <a:pt x="1242" y="1035"/>
                </a:lnTo>
                <a:lnTo>
                  <a:pt x="1242" y="1036"/>
                </a:lnTo>
                <a:lnTo>
                  <a:pt x="1240" y="1038"/>
                </a:lnTo>
                <a:lnTo>
                  <a:pt x="1240" y="1038"/>
                </a:lnTo>
                <a:lnTo>
                  <a:pt x="1240" y="1039"/>
                </a:lnTo>
                <a:lnTo>
                  <a:pt x="1240" y="1039"/>
                </a:lnTo>
                <a:lnTo>
                  <a:pt x="1242" y="1039"/>
                </a:lnTo>
                <a:lnTo>
                  <a:pt x="1242" y="1039"/>
                </a:lnTo>
                <a:lnTo>
                  <a:pt x="1243" y="1039"/>
                </a:lnTo>
                <a:lnTo>
                  <a:pt x="1243" y="1041"/>
                </a:lnTo>
                <a:lnTo>
                  <a:pt x="1244" y="1039"/>
                </a:lnTo>
                <a:lnTo>
                  <a:pt x="1244" y="1038"/>
                </a:lnTo>
                <a:lnTo>
                  <a:pt x="1244" y="1038"/>
                </a:lnTo>
                <a:lnTo>
                  <a:pt x="1246" y="1035"/>
                </a:lnTo>
                <a:lnTo>
                  <a:pt x="1247" y="1034"/>
                </a:lnTo>
                <a:lnTo>
                  <a:pt x="1246" y="1032"/>
                </a:lnTo>
                <a:lnTo>
                  <a:pt x="1244" y="1032"/>
                </a:lnTo>
                <a:lnTo>
                  <a:pt x="1244" y="1032"/>
                </a:lnTo>
                <a:lnTo>
                  <a:pt x="1244" y="1031"/>
                </a:lnTo>
                <a:lnTo>
                  <a:pt x="1244" y="1030"/>
                </a:lnTo>
                <a:lnTo>
                  <a:pt x="1246" y="1030"/>
                </a:lnTo>
                <a:lnTo>
                  <a:pt x="1247" y="1028"/>
                </a:lnTo>
                <a:lnTo>
                  <a:pt x="1247" y="1028"/>
                </a:lnTo>
                <a:lnTo>
                  <a:pt x="1249" y="1027"/>
                </a:lnTo>
                <a:lnTo>
                  <a:pt x="1247" y="1030"/>
                </a:lnTo>
                <a:lnTo>
                  <a:pt x="1246" y="1031"/>
                </a:lnTo>
                <a:lnTo>
                  <a:pt x="1246" y="1031"/>
                </a:lnTo>
                <a:lnTo>
                  <a:pt x="1246" y="1032"/>
                </a:lnTo>
                <a:lnTo>
                  <a:pt x="1249" y="1034"/>
                </a:lnTo>
                <a:lnTo>
                  <a:pt x="1249" y="1035"/>
                </a:lnTo>
                <a:lnTo>
                  <a:pt x="1249" y="1036"/>
                </a:lnTo>
                <a:lnTo>
                  <a:pt x="1247" y="1036"/>
                </a:lnTo>
                <a:lnTo>
                  <a:pt x="1247" y="1038"/>
                </a:lnTo>
                <a:lnTo>
                  <a:pt x="1246" y="1038"/>
                </a:lnTo>
                <a:lnTo>
                  <a:pt x="1246" y="1039"/>
                </a:lnTo>
                <a:lnTo>
                  <a:pt x="1246" y="1042"/>
                </a:lnTo>
                <a:lnTo>
                  <a:pt x="1244" y="1046"/>
                </a:lnTo>
                <a:lnTo>
                  <a:pt x="1244" y="1047"/>
                </a:lnTo>
                <a:lnTo>
                  <a:pt x="1246" y="1049"/>
                </a:lnTo>
                <a:lnTo>
                  <a:pt x="1244" y="1055"/>
                </a:lnTo>
                <a:lnTo>
                  <a:pt x="1244" y="1057"/>
                </a:lnTo>
                <a:lnTo>
                  <a:pt x="1246" y="1061"/>
                </a:lnTo>
                <a:lnTo>
                  <a:pt x="1246" y="1064"/>
                </a:lnTo>
                <a:lnTo>
                  <a:pt x="1247" y="1064"/>
                </a:lnTo>
                <a:lnTo>
                  <a:pt x="1249" y="1065"/>
                </a:lnTo>
                <a:lnTo>
                  <a:pt x="1250" y="1064"/>
                </a:lnTo>
                <a:lnTo>
                  <a:pt x="1251" y="1062"/>
                </a:lnTo>
                <a:lnTo>
                  <a:pt x="1250" y="1062"/>
                </a:lnTo>
                <a:lnTo>
                  <a:pt x="1250" y="1061"/>
                </a:lnTo>
                <a:lnTo>
                  <a:pt x="1250" y="1060"/>
                </a:lnTo>
                <a:lnTo>
                  <a:pt x="1250" y="1058"/>
                </a:lnTo>
                <a:lnTo>
                  <a:pt x="1250" y="1058"/>
                </a:lnTo>
                <a:lnTo>
                  <a:pt x="1250" y="1058"/>
                </a:lnTo>
                <a:lnTo>
                  <a:pt x="1251" y="1058"/>
                </a:lnTo>
                <a:lnTo>
                  <a:pt x="1251" y="1058"/>
                </a:lnTo>
                <a:lnTo>
                  <a:pt x="1251" y="1057"/>
                </a:lnTo>
                <a:lnTo>
                  <a:pt x="1251" y="1055"/>
                </a:lnTo>
                <a:lnTo>
                  <a:pt x="1253" y="1057"/>
                </a:lnTo>
                <a:lnTo>
                  <a:pt x="1253" y="1057"/>
                </a:lnTo>
                <a:lnTo>
                  <a:pt x="1253" y="1058"/>
                </a:lnTo>
                <a:lnTo>
                  <a:pt x="1253" y="1058"/>
                </a:lnTo>
                <a:lnTo>
                  <a:pt x="1251" y="1060"/>
                </a:lnTo>
                <a:lnTo>
                  <a:pt x="1251" y="1060"/>
                </a:lnTo>
                <a:lnTo>
                  <a:pt x="1253" y="1061"/>
                </a:lnTo>
                <a:lnTo>
                  <a:pt x="1254" y="1060"/>
                </a:lnTo>
                <a:lnTo>
                  <a:pt x="1254" y="1060"/>
                </a:lnTo>
                <a:lnTo>
                  <a:pt x="1255" y="1058"/>
                </a:lnTo>
                <a:lnTo>
                  <a:pt x="1254" y="1057"/>
                </a:lnTo>
                <a:lnTo>
                  <a:pt x="1254" y="1055"/>
                </a:lnTo>
                <a:lnTo>
                  <a:pt x="1254" y="1054"/>
                </a:lnTo>
                <a:lnTo>
                  <a:pt x="1254" y="1053"/>
                </a:lnTo>
                <a:lnTo>
                  <a:pt x="1254" y="1051"/>
                </a:lnTo>
                <a:lnTo>
                  <a:pt x="1255" y="1051"/>
                </a:lnTo>
                <a:lnTo>
                  <a:pt x="1255" y="1053"/>
                </a:lnTo>
                <a:lnTo>
                  <a:pt x="1255" y="1057"/>
                </a:lnTo>
                <a:lnTo>
                  <a:pt x="1257" y="1058"/>
                </a:lnTo>
                <a:lnTo>
                  <a:pt x="1257" y="1058"/>
                </a:lnTo>
                <a:lnTo>
                  <a:pt x="1257" y="1058"/>
                </a:lnTo>
                <a:lnTo>
                  <a:pt x="1259" y="1058"/>
                </a:lnTo>
                <a:lnTo>
                  <a:pt x="1262" y="1061"/>
                </a:lnTo>
                <a:lnTo>
                  <a:pt x="1264" y="1061"/>
                </a:lnTo>
                <a:lnTo>
                  <a:pt x="1265" y="1061"/>
                </a:lnTo>
                <a:lnTo>
                  <a:pt x="1265" y="1061"/>
                </a:lnTo>
                <a:lnTo>
                  <a:pt x="1265" y="1060"/>
                </a:lnTo>
                <a:lnTo>
                  <a:pt x="1265" y="1060"/>
                </a:lnTo>
                <a:lnTo>
                  <a:pt x="1265" y="1060"/>
                </a:lnTo>
                <a:lnTo>
                  <a:pt x="1265" y="1061"/>
                </a:lnTo>
                <a:lnTo>
                  <a:pt x="1266" y="1061"/>
                </a:lnTo>
                <a:lnTo>
                  <a:pt x="1266" y="1061"/>
                </a:lnTo>
                <a:lnTo>
                  <a:pt x="1268" y="1061"/>
                </a:lnTo>
                <a:lnTo>
                  <a:pt x="1268" y="1061"/>
                </a:lnTo>
                <a:lnTo>
                  <a:pt x="1269" y="1060"/>
                </a:lnTo>
                <a:lnTo>
                  <a:pt x="1269" y="1057"/>
                </a:lnTo>
                <a:lnTo>
                  <a:pt x="1268" y="1057"/>
                </a:lnTo>
                <a:lnTo>
                  <a:pt x="1268" y="1054"/>
                </a:lnTo>
                <a:lnTo>
                  <a:pt x="1266" y="1053"/>
                </a:lnTo>
                <a:lnTo>
                  <a:pt x="1266" y="1053"/>
                </a:lnTo>
                <a:lnTo>
                  <a:pt x="1265" y="1051"/>
                </a:lnTo>
                <a:lnTo>
                  <a:pt x="1264" y="1046"/>
                </a:lnTo>
                <a:lnTo>
                  <a:pt x="1264" y="1043"/>
                </a:lnTo>
                <a:lnTo>
                  <a:pt x="1261" y="1042"/>
                </a:lnTo>
                <a:lnTo>
                  <a:pt x="1261" y="1042"/>
                </a:lnTo>
                <a:lnTo>
                  <a:pt x="1259" y="1042"/>
                </a:lnTo>
                <a:lnTo>
                  <a:pt x="1258" y="1041"/>
                </a:lnTo>
                <a:lnTo>
                  <a:pt x="1258" y="1039"/>
                </a:lnTo>
                <a:lnTo>
                  <a:pt x="1258" y="1038"/>
                </a:lnTo>
                <a:lnTo>
                  <a:pt x="1258" y="1036"/>
                </a:lnTo>
                <a:lnTo>
                  <a:pt x="1259" y="1036"/>
                </a:lnTo>
                <a:lnTo>
                  <a:pt x="1259" y="1038"/>
                </a:lnTo>
                <a:lnTo>
                  <a:pt x="1259" y="1039"/>
                </a:lnTo>
                <a:lnTo>
                  <a:pt x="1259" y="1041"/>
                </a:lnTo>
                <a:lnTo>
                  <a:pt x="1261" y="1041"/>
                </a:lnTo>
                <a:lnTo>
                  <a:pt x="1262" y="1042"/>
                </a:lnTo>
                <a:lnTo>
                  <a:pt x="1264" y="1042"/>
                </a:lnTo>
                <a:lnTo>
                  <a:pt x="1264" y="1041"/>
                </a:lnTo>
                <a:lnTo>
                  <a:pt x="1264" y="1041"/>
                </a:lnTo>
                <a:lnTo>
                  <a:pt x="1265" y="1041"/>
                </a:lnTo>
                <a:lnTo>
                  <a:pt x="1265" y="1041"/>
                </a:lnTo>
                <a:lnTo>
                  <a:pt x="1266" y="1041"/>
                </a:lnTo>
                <a:lnTo>
                  <a:pt x="1268" y="1038"/>
                </a:lnTo>
                <a:lnTo>
                  <a:pt x="1266" y="1034"/>
                </a:lnTo>
                <a:lnTo>
                  <a:pt x="1266" y="1034"/>
                </a:lnTo>
                <a:lnTo>
                  <a:pt x="1266" y="1031"/>
                </a:lnTo>
                <a:lnTo>
                  <a:pt x="1265" y="1031"/>
                </a:lnTo>
                <a:lnTo>
                  <a:pt x="1266" y="1030"/>
                </a:lnTo>
                <a:lnTo>
                  <a:pt x="1266" y="1028"/>
                </a:lnTo>
                <a:lnTo>
                  <a:pt x="1266" y="1028"/>
                </a:lnTo>
                <a:lnTo>
                  <a:pt x="1266" y="1027"/>
                </a:lnTo>
                <a:lnTo>
                  <a:pt x="1266" y="1027"/>
                </a:lnTo>
                <a:lnTo>
                  <a:pt x="1266" y="1028"/>
                </a:lnTo>
                <a:lnTo>
                  <a:pt x="1266" y="1027"/>
                </a:lnTo>
                <a:lnTo>
                  <a:pt x="1268" y="1027"/>
                </a:lnTo>
                <a:lnTo>
                  <a:pt x="1268" y="1024"/>
                </a:lnTo>
                <a:lnTo>
                  <a:pt x="1268" y="1023"/>
                </a:lnTo>
                <a:lnTo>
                  <a:pt x="1268" y="1023"/>
                </a:lnTo>
                <a:lnTo>
                  <a:pt x="1265" y="1019"/>
                </a:lnTo>
                <a:lnTo>
                  <a:pt x="1264" y="1017"/>
                </a:lnTo>
                <a:lnTo>
                  <a:pt x="1265" y="1017"/>
                </a:lnTo>
                <a:lnTo>
                  <a:pt x="1264" y="1015"/>
                </a:lnTo>
                <a:lnTo>
                  <a:pt x="1264" y="1015"/>
                </a:lnTo>
                <a:lnTo>
                  <a:pt x="1262" y="1011"/>
                </a:lnTo>
                <a:lnTo>
                  <a:pt x="1262" y="1011"/>
                </a:lnTo>
                <a:lnTo>
                  <a:pt x="1262" y="1009"/>
                </a:lnTo>
                <a:lnTo>
                  <a:pt x="1264" y="1009"/>
                </a:lnTo>
                <a:lnTo>
                  <a:pt x="1264" y="1008"/>
                </a:lnTo>
                <a:lnTo>
                  <a:pt x="1264" y="1007"/>
                </a:lnTo>
                <a:lnTo>
                  <a:pt x="1262" y="1004"/>
                </a:lnTo>
                <a:lnTo>
                  <a:pt x="1261" y="1002"/>
                </a:lnTo>
                <a:lnTo>
                  <a:pt x="1261" y="1001"/>
                </a:lnTo>
                <a:lnTo>
                  <a:pt x="1259" y="1001"/>
                </a:lnTo>
                <a:lnTo>
                  <a:pt x="1261" y="1000"/>
                </a:lnTo>
                <a:lnTo>
                  <a:pt x="1261" y="998"/>
                </a:lnTo>
                <a:lnTo>
                  <a:pt x="1261" y="997"/>
                </a:lnTo>
                <a:lnTo>
                  <a:pt x="1259" y="994"/>
                </a:lnTo>
                <a:lnTo>
                  <a:pt x="1259" y="993"/>
                </a:lnTo>
                <a:lnTo>
                  <a:pt x="1258" y="992"/>
                </a:lnTo>
                <a:lnTo>
                  <a:pt x="1258" y="992"/>
                </a:lnTo>
                <a:lnTo>
                  <a:pt x="1258" y="989"/>
                </a:lnTo>
                <a:lnTo>
                  <a:pt x="1258" y="989"/>
                </a:lnTo>
                <a:lnTo>
                  <a:pt x="1258" y="988"/>
                </a:lnTo>
                <a:lnTo>
                  <a:pt x="1258" y="986"/>
                </a:lnTo>
                <a:lnTo>
                  <a:pt x="1259" y="986"/>
                </a:lnTo>
                <a:lnTo>
                  <a:pt x="1259" y="985"/>
                </a:lnTo>
                <a:lnTo>
                  <a:pt x="1259" y="983"/>
                </a:lnTo>
                <a:lnTo>
                  <a:pt x="1259" y="982"/>
                </a:lnTo>
                <a:lnTo>
                  <a:pt x="1259" y="981"/>
                </a:lnTo>
                <a:lnTo>
                  <a:pt x="1259" y="981"/>
                </a:lnTo>
                <a:lnTo>
                  <a:pt x="1258" y="981"/>
                </a:lnTo>
                <a:lnTo>
                  <a:pt x="1257" y="979"/>
                </a:lnTo>
                <a:lnTo>
                  <a:pt x="1255" y="977"/>
                </a:lnTo>
                <a:lnTo>
                  <a:pt x="1255" y="975"/>
                </a:lnTo>
                <a:lnTo>
                  <a:pt x="1254" y="974"/>
                </a:lnTo>
                <a:lnTo>
                  <a:pt x="1254" y="973"/>
                </a:lnTo>
                <a:lnTo>
                  <a:pt x="1254" y="971"/>
                </a:lnTo>
                <a:lnTo>
                  <a:pt x="1254" y="970"/>
                </a:lnTo>
                <a:lnTo>
                  <a:pt x="1254" y="967"/>
                </a:lnTo>
                <a:lnTo>
                  <a:pt x="1255" y="964"/>
                </a:lnTo>
                <a:lnTo>
                  <a:pt x="1258" y="962"/>
                </a:lnTo>
                <a:lnTo>
                  <a:pt x="1259" y="960"/>
                </a:lnTo>
                <a:lnTo>
                  <a:pt x="1261" y="959"/>
                </a:lnTo>
                <a:lnTo>
                  <a:pt x="1261" y="959"/>
                </a:lnTo>
                <a:lnTo>
                  <a:pt x="1261" y="959"/>
                </a:lnTo>
                <a:lnTo>
                  <a:pt x="1261" y="958"/>
                </a:lnTo>
                <a:lnTo>
                  <a:pt x="1259" y="958"/>
                </a:lnTo>
                <a:lnTo>
                  <a:pt x="1258" y="958"/>
                </a:lnTo>
                <a:lnTo>
                  <a:pt x="1258" y="958"/>
                </a:lnTo>
                <a:lnTo>
                  <a:pt x="1254" y="956"/>
                </a:lnTo>
                <a:lnTo>
                  <a:pt x="1253" y="956"/>
                </a:lnTo>
                <a:lnTo>
                  <a:pt x="1251" y="956"/>
                </a:lnTo>
                <a:lnTo>
                  <a:pt x="1251" y="956"/>
                </a:lnTo>
                <a:lnTo>
                  <a:pt x="1251" y="958"/>
                </a:lnTo>
                <a:lnTo>
                  <a:pt x="1250" y="958"/>
                </a:lnTo>
                <a:lnTo>
                  <a:pt x="1250" y="958"/>
                </a:lnTo>
                <a:lnTo>
                  <a:pt x="1246" y="956"/>
                </a:lnTo>
                <a:lnTo>
                  <a:pt x="1244" y="955"/>
                </a:lnTo>
                <a:lnTo>
                  <a:pt x="1244" y="954"/>
                </a:lnTo>
                <a:lnTo>
                  <a:pt x="1244" y="952"/>
                </a:lnTo>
                <a:lnTo>
                  <a:pt x="1244" y="951"/>
                </a:lnTo>
                <a:lnTo>
                  <a:pt x="1246" y="949"/>
                </a:lnTo>
                <a:lnTo>
                  <a:pt x="1249" y="941"/>
                </a:lnTo>
                <a:lnTo>
                  <a:pt x="1250" y="940"/>
                </a:lnTo>
                <a:lnTo>
                  <a:pt x="1249" y="939"/>
                </a:lnTo>
                <a:lnTo>
                  <a:pt x="1247" y="940"/>
                </a:lnTo>
                <a:lnTo>
                  <a:pt x="1247" y="941"/>
                </a:lnTo>
                <a:lnTo>
                  <a:pt x="1246" y="941"/>
                </a:lnTo>
                <a:lnTo>
                  <a:pt x="1246" y="940"/>
                </a:lnTo>
                <a:lnTo>
                  <a:pt x="1244" y="939"/>
                </a:lnTo>
                <a:lnTo>
                  <a:pt x="1243" y="939"/>
                </a:lnTo>
                <a:lnTo>
                  <a:pt x="1242" y="937"/>
                </a:lnTo>
                <a:lnTo>
                  <a:pt x="1240" y="934"/>
                </a:lnTo>
                <a:lnTo>
                  <a:pt x="1239" y="933"/>
                </a:lnTo>
                <a:lnTo>
                  <a:pt x="1239" y="933"/>
                </a:lnTo>
                <a:lnTo>
                  <a:pt x="1238" y="933"/>
                </a:lnTo>
                <a:lnTo>
                  <a:pt x="1238" y="933"/>
                </a:lnTo>
                <a:lnTo>
                  <a:pt x="1236" y="933"/>
                </a:lnTo>
                <a:lnTo>
                  <a:pt x="1236" y="932"/>
                </a:lnTo>
                <a:lnTo>
                  <a:pt x="1236" y="932"/>
                </a:lnTo>
                <a:lnTo>
                  <a:pt x="1236" y="930"/>
                </a:lnTo>
                <a:lnTo>
                  <a:pt x="1236" y="930"/>
                </a:lnTo>
                <a:lnTo>
                  <a:pt x="1236" y="930"/>
                </a:lnTo>
                <a:lnTo>
                  <a:pt x="1235" y="930"/>
                </a:lnTo>
                <a:lnTo>
                  <a:pt x="1235" y="929"/>
                </a:lnTo>
                <a:lnTo>
                  <a:pt x="1236" y="924"/>
                </a:lnTo>
                <a:lnTo>
                  <a:pt x="1236" y="922"/>
                </a:lnTo>
                <a:lnTo>
                  <a:pt x="1236" y="922"/>
                </a:lnTo>
                <a:lnTo>
                  <a:pt x="1236" y="921"/>
                </a:lnTo>
                <a:lnTo>
                  <a:pt x="1236" y="921"/>
                </a:lnTo>
                <a:lnTo>
                  <a:pt x="1238" y="920"/>
                </a:lnTo>
                <a:lnTo>
                  <a:pt x="1238" y="918"/>
                </a:lnTo>
                <a:lnTo>
                  <a:pt x="1238" y="918"/>
                </a:lnTo>
                <a:lnTo>
                  <a:pt x="1238" y="917"/>
                </a:lnTo>
                <a:lnTo>
                  <a:pt x="1238" y="917"/>
                </a:lnTo>
                <a:lnTo>
                  <a:pt x="1238" y="915"/>
                </a:lnTo>
                <a:lnTo>
                  <a:pt x="1239" y="915"/>
                </a:lnTo>
                <a:lnTo>
                  <a:pt x="1240" y="915"/>
                </a:lnTo>
                <a:lnTo>
                  <a:pt x="1240" y="915"/>
                </a:lnTo>
                <a:lnTo>
                  <a:pt x="1242" y="915"/>
                </a:lnTo>
                <a:lnTo>
                  <a:pt x="1243" y="914"/>
                </a:lnTo>
                <a:lnTo>
                  <a:pt x="1246" y="913"/>
                </a:lnTo>
                <a:lnTo>
                  <a:pt x="1246" y="911"/>
                </a:lnTo>
                <a:lnTo>
                  <a:pt x="1246" y="910"/>
                </a:lnTo>
                <a:lnTo>
                  <a:pt x="1246" y="909"/>
                </a:lnTo>
                <a:lnTo>
                  <a:pt x="1246" y="907"/>
                </a:lnTo>
                <a:lnTo>
                  <a:pt x="1244" y="907"/>
                </a:lnTo>
                <a:lnTo>
                  <a:pt x="1246" y="906"/>
                </a:lnTo>
                <a:lnTo>
                  <a:pt x="1247" y="905"/>
                </a:lnTo>
                <a:lnTo>
                  <a:pt x="1247" y="905"/>
                </a:lnTo>
                <a:lnTo>
                  <a:pt x="1244" y="903"/>
                </a:lnTo>
                <a:lnTo>
                  <a:pt x="1244" y="903"/>
                </a:lnTo>
                <a:lnTo>
                  <a:pt x="1243" y="902"/>
                </a:lnTo>
                <a:lnTo>
                  <a:pt x="1243" y="900"/>
                </a:lnTo>
                <a:lnTo>
                  <a:pt x="1243" y="900"/>
                </a:lnTo>
                <a:lnTo>
                  <a:pt x="1244" y="899"/>
                </a:lnTo>
                <a:lnTo>
                  <a:pt x="1244" y="899"/>
                </a:lnTo>
                <a:lnTo>
                  <a:pt x="1243" y="898"/>
                </a:lnTo>
                <a:lnTo>
                  <a:pt x="1243" y="896"/>
                </a:lnTo>
                <a:lnTo>
                  <a:pt x="1244" y="895"/>
                </a:lnTo>
                <a:lnTo>
                  <a:pt x="1244" y="895"/>
                </a:lnTo>
                <a:lnTo>
                  <a:pt x="1246" y="895"/>
                </a:lnTo>
                <a:lnTo>
                  <a:pt x="1247" y="894"/>
                </a:lnTo>
                <a:lnTo>
                  <a:pt x="1247" y="894"/>
                </a:lnTo>
                <a:lnTo>
                  <a:pt x="1247" y="894"/>
                </a:lnTo>
                <a:lnTo>
                  <a:pt x="1247" y="892"/>
                </a:lnTo>
                <a:lnTo>
                  <a:pt x="1249" y="892"/>
                </a:lnTo>
                <a:lnTo>
                  <a:pt x="1249" y="892"/>
                </a:lnTo>
                <a:lnTo>
                  <a:pt x="1247" y="891"/>
                </a:lnTo>
                <a:lnTo>
                  <a:pt x="1247" y="891"/>
                </a:lnTo>
                <a:lnTo>
                  <a:pt x="1247" y="888"/>
                </a:lnTo>
                <a:lnTo>
                  <a:pt x="1246" y="886"/>
                </a:lnTo>
                <a:lnTo>
                  <a:pt x="1244" y="884"/>
                </a:lnTo>
                <a:lnTo>
                  <a:pt x="1243" y="884"/>
                </a:lnTo>
                <a:lnTo>
                  <a:pt x="1242" y="886"/>
                </a:lnTo>
                <a:lnTo>
                  <a:pt x="1240" y="887"/>
                </a:lnTo>
                <a:lnTo>
                  <a:pt x="1240" y="887"/>
                </a:lnTo>
                <a:lnTo>
                  <a:pt x="1236" y="887"/>
                </a:lnTo>
                <a:lnTo>
                  <a:pt x="1232" y="887"/>
                </a:lnTo>
                <a:lnTo>
                  <a:pt x="1231" y="886"/>
                </a:lnTo>
                <a:lnTo>
                  <a:pt x="1227" y="883"/>
                </a:lnTo>
                <a:lnTo>
                  <a:pt x="1210" y="875"/>
                </a:lnTo>
                <a:lnTo>
                  <a:pt x="1209" y="873"/>
                </a:lnTo>
                <a:lnTo>
                  <a:pt x="1209" y="873"/>
                </a:lnTo>
                <a:lnTo>
                  <a:pt x="1209" y="872"/>
                </a:lnTo>
                <a:lnTo>
                  <a:pt x="1208" y="872"/>
                </a:lnTo>
                <a:lnTo>
                  <a:pt x="1208" y="872"/>
                </a:lnTo>
                <a:lnTo>
                  <a:pt x="1208" y="871"/>
                </a:lnTo>
                <a:lnTo>
                  <a:pt x="1208" y="868"/>
                </a:lnTo>
                <a:lnTo>
                  <a:pt x="1208" y="868"/>
                </a:lnTo>
                <a:lnTo>
                  <a:pt x="1206" y="866"/>
                </a:lnTo>
                <a:lnTo>
                  <a:pt x="1206" y="865"/>
                </a:lnTo>
                <a:lnTo>
                  <a:pt x="1205" y="865"/>
                </a:lnTo>
                <a:lnTo>
                  <a:pt x="1204" y="864"/>
                </a:lnTo>
                <a:lnTo>
                  <a:pt x="1204" y="862"/>
                </a:lnTo>
                <a:lnTo>
                  <a:pt x="1205" y="861"/>
                </a:lnTo>
                <a:lnTo>
                  <a:pt x="1205" y="860"/>
                </a:lnTo>
                <a:lnTo>
                  <a:pt x="1206" y="857"/>
                </a:lnTo>
                <a:lnTo>
                  <a:pt x="1206" y="857"/>
                </a:lnTo>
                <a:lnTo>
                  <a:pt x="1208" y="857"/>
                </a:lnTo>
                <a:lnTo>
                  <a:pt x="1208" y="856"/>
                </a:lnTo>
                <a:lnTo>
                  <a:pt x="1208" y="856"/>
                </a:lnTo>
                <a:lnTo>
                  <a:pt x="1208" y="854"/>
                </a:lnTo>
                <a:lnTo>
                  <a:pt x="1208" y="854"/>
                </a:lnTo>
                <a:lnTo>
                  <a:pt x="1209" y="854"/>
                </a:lnTo>
                <a:lnTo>
                  <a:pt x="1209" y="853"/>
                </a:lnTo>
                <a:lnTo>
                  <a:pt x="1210" y="852"/>
                </a:lnTo>
                <a:lnTo>
                  <a:pt x="1212" y="852"/>
                </a:lnTo>
                <a:lnTo>
                  <a:pt x="1210" y="850"/>
                </a:lnTo>
                <a:lnTo>
                  <a:pt x="1210" y="847"/>
                </a:lnTo>
                <a:lnTo>
                  <a:pt x="1210" y="847"/>
                </a:lnTo>
                <a:lnTo>
                  <a:pt x="1209" y="847"/>
                </a:lnTo>
                <a:lnTo>
                  <a:pt x="1209" y="846"/>
                </a:lnTo>
                <a:lnTo>
                  <a:pt x="1213" y="845"/>
                </a:lnTo>
                <a:lnTo>
                  <a:pt x="1213" y="845"/>
                </a:lnTo>
                <a:lnTo>
                  <a:pt x="1215" y="845"/>
                </a:lnTo>
                <a:lnTo>
                  <a:pt x="1216" y="845"/>
                </a:lnTo>
                <a:lnTo>
                  <a:pt x="1217" y="846"/>
                </a:lnTo>
                <a:lnTo>
                  <a:pt x="1217" y="847"/>
                </a:lnTo>
                <a:lnTo>
                  <a:pt x="1217" y="849"/>
                </a:lnTo>
                <a:lnTo>
                  <a:pt x="1219" y="849"/>
                </a:lnTo>
                <a:lnTo>
                  <a:pt x="1220" y="850"/>
                </a:lnTo>
                <a:lnTo>
                  <a:pt x="1221" y="850"/>
                </a:lnTo>
                <a:lnTo>
                  <a:pt x="1223" y="849"/>
                </a:lnTo>
                <a:lnTo>
                  <a:pt x="1223" y="847"/>
                </a:lnTo>
                <a:lnTo>
                  <a:pt x="1225" y="845"/>
                </a:lnTo>
                <a:lnTo>
                  <a:pt x="1225" y="843"/>
                </a:lnTo>
                <a:lnTo>
                  <a:pt x="1227" y="842"/>
                </a:lnTo>
                <a:lnTo>
                  <a:pt x="1228" y="839"/>
                </a:lnTo>
                <a:lnTo>
                  <a:pt x="1228" y="838"/>
                </a:lnTo>
                <a:lnTo>
                  <a:pt x="1230" y="834"/>
                </a:lnTo>
                <a:lnTo>
                  <a:pt x="1228" y="830"/>
                </a:lnTo>
                <a:lnTo>
                  <a:pt x="1230" y="828"/>
                </a:lnTo>
                <a:lnTo>
                  <a:pt x="1231" y="828"/>
                </a:lnTo>
                <a:lnTo>
                  <a:pt x="1232" y="828"/>
                </a:lnTo>
                <a:lnTo>
                  <a:pt x="1235" y="830"/>
                </a:lnTo>
                <a:lnTo>
                  <a:pt x="1236" y="830"/>
                </a:lnTo>
                <a:lnTo>
                  <a:pt x="1236" y="830"/>
                </a:lnTo>
                <a:lnTo>
                  <a:pt x="1236" y="830"/>
                </a:lnTo>
                <a:lnTo>
                  <a:pt x="1238" y="830"/>
                </a:lnTo>
                <a:lnTo>
                  <a:pt x="1238" y="830"/>
                </a:lnTo>
                <a:lnTo>
                  <a:pt x="1239" y="828"/>
                </a:lnTo>
                <a:lnTo>
                  <a:pt x="1239" y="828"/>
                </a:lnTo>
                <a:lnTo>
                  <a:pt x="1240" y="828"/>
                </a:lnTo>
                <a:lnTo>
                  <a:pt x="1243" y="828"/>
                </a:lnTo>
                <a:lnTo>
                  <a:pt x="1246" y="830"/>
                </a:lnTo>
                <a:lnTo>
                  <a:pt x="1250" y="831"/>
                </a:lnTo>
                <a:lnTo>
                  <a:pt x="1251" y="830"/>
                </a:lnTo>
                <a:lnTo>
                  <a:pt x="1251" y="828"/>
                </a:lnTo>
                <a:lnTo>
                  <a:pt x="1251" y="828"/>
                </a:lnTo>
                <a:lnTo>
                  <a:pt x="1253" y="828"/>
                </a:lnTo>
                <a:lnTo>
                  <a:pt x="1253" y="828"/>
                </a:lnTo>
                <a:lnTo>
                  <a:pt x="1253" y="828"/>
                </a:lnTo>
                <a:lnTo>
                  <a:pt x="1257" y="830"/>
                </a:lnTo>
                <a:lnTo>
                  <a:pt x="1258" y="830"/>
                </a:lnTo>
                <a:lnTo>
                  <a:pt x="1258" y="828"/>
                </a:lnTo>
                <a:lnTo>
                  <a:pt x="1259" y="828"/>
                </a:lnTo>
                <a:lnTo>
                  <a:pt x="1259" y="828"/>
                </a:lnTo>
                <a:lnTo>
                  <a:pt x="1259" y="827"/>
                </a:lnTo>
                <a:lnTo>
                  <a:pt x="1259" y="826"/>
                </a:lnTo>
                <a:lnTo>
                  <a:pt x="1259" y="826"/>
                </a:lnTo>
                <a:lnTo>
                  <a:pt x="1262" y="823"/>
                </a:lnTo>
                <a:lnTo>
                  <a:pt x="1262" y="823"/>
                </a:lnTo>
                <a:lnTo>
                  <a:pt x="1262" y="823"/>
                </a:lnTo>
                <a:lnTo>
                  <a:pt x="1262" y="822"/>
                </a:lnTo>
                <a:lnTo>
                  <a:pt x="1262" y="822"/>
                </a:lnTo>
                <a:lnTo>
                  <a:pt x="1258" y="822"/>
                </a:lnTo>
                <a:lnTo>
                  <a:pt x="1257" y="822"/>
                </a:lnTo>
                <a:lnTo>
                  <a:pt x="1257" y="820"/>
                </a:lnTo>
                <a:lnTo>
                  <a:pt x="1255" y="820"/>
                </a:lnTo>
                <a:lnTo>
                  <a:pt x="1254" y="820"/>
                </a:lnTo>
                <a:lnTo>
                  <a:pt x="1254" y="819"/>
                </a:lnTo>
                <a:lnTo>
                  <a:pt x="1254" y="819"/>
                </a:lnTo>
                <a:lnTo>
                  <a:pt x="1253" y="818"/>
                </a:lnTo>
                <a:lnTo>
                  <a:pt x="1251" y="816"/>
                </a:lnTo>
                <a:lnTo>
                  <a:pt x="1251" y="816"/>
                </a:lnTo>
                <a:lnTo>
                  <a:pt x="1251" y="816"/>
                </a:lnTo>
                <a:lnTo>
                  <a:pt x="1251" y="815"/>
                </a:lnTo>
                <a:lnTo>
                  <a:pt x="1251" y="815"/>
                </a:lnTo>
                <a:lnTo>
                  <a:pt x="1253" y="812"/>
                </a:lnTo>
                <a:lnTo>
                  <a:pt x="1253" y="811"/>
                </a:lnTo>
                <a:lnTo>
                  <a:pt x="1251" y="809"/>
                </a:lnTo>
                <a:lnTo>
                  <a:pt x="1251" y="809"/>
                </a:lnTo>
                <a:lnTo>
                  <a:pt x="1250" y="808"/>
                </a:lnTo>
                <a:lnTo>
                  <a:pt x="1250" y="808"/>
                </a:lnTo>
                <a:lnTo>
                  <a:pt x="1247" y="807"/>
                </a:lnTo>
                <a:lnTo>
                  <a:pt x="1247" y="808"/>
                </a:lnTo>
                <a:lnTo>
                  <a:pt x="1247" y="809"/>
                </a:lnTo>
                <a:lnTo>
                  <a:pt x="1246" y="809"/>
                </a:lnTo>
                <a:lnTo>
                  <a:pt x="1246" y="808"/>
                </a:lnTo>
                <a:lnTo>
                  <a:pt x="1246" y="808"/>
                </a:lnTo>
                <a:lnTo>
                  <a:pt x="1244" y="809"/>
                </a:lnTo>
                <a:lnTo>
                  <a:pt x="1244" y="809"/>
                </a:lnTo>
                <a:lnTo>
                  <a:pt x="1243" y="811"/>
                </a:lnTo>
                <a:lnTo>
                  <a:pt x="1243" y="811"/>
                </a:lnTo>
                <a:lnTo>
                  <a:pt x="1242" y="811"/>
                </a:lnTo>
                <a:lnTo>
                  <a:pt x="1240" y="809"/>
                </a:lnTo>
                <a:lnTo>
                  <a:pt x="1239" y="808"/>
                </a:lnTo>
                <a:lnTo>
                  <a:pt x="1236" y="808"/>
                </a:lnTo>
                <a:lnTo>
                  <a:pt x="1235" y="808"/>
                </a:lnTo>
                <a:lnTo>
                  <a:pt x="1234" y="808"/>
                </a:lnTo>
                <a:lnTo>
                  <a:pt x="1234" y="807"/>
                </a:lnTo>
                <a:lnTo>
                  <a:pt x="1232" y="805"/>
                </a:lnTo>
                <a:lnTo>
                  <a:pt x="1231" y="804"/>
                </a:lnTo>
                <a:lnTo>
                  <a:pt x="1230" y="803"/>
                </a:lnTo>
                <a:lnTo>
                  <a:pt x="1228" y="803"/>
                </a:lnTo>
                <a:lnTo>
                  <a:pt x="1228" y="798"/>
                </a:lnTo>
                <a:lnTo>
                  <a:pt x="1227" y="796"/>
                </a:lnTo>
                <a:lnTo>
                  <a:pt x="1221" y="793"/>
                </a:lnTo>
                <a:lnTo>
                  <a:pt x="1219" y="789"/>
                </a:lnTo>
                <a:lnTo>
                  <a:pt x="1216" y="788"/>
                </a:lnTo>
                <a:lnTo>
                  <a:pt x="1213" y="789"/>
                </a:lnTo>
                <a:lnTo>
                  <a:pt x="1213" y="789"/>
                </a:lnTo>
                <a:lnTo>
                  <a:pt x="1212" y="790"/>
                </a:lnTo>
                <a:lnTo>
                  <a:pt x="1210" y="790"/>
                </a:lnTo>
                <a:lnTo>
                  <a:pt x="1209" y="789"/>
                </a:lnTo>
                <a:lnTo>
                  <a:pt x="1209" y="788"/>
                </a:lnTo>
                <a:lnTo>
                  <a:pt x="1209" y="788"/>
                </a:lnTo>
                <a:lnTo>
                  <a:pt x="1208" y="786"/>
                </a:lnTo>
                <a:lnTo>
                  <a:pt x="1208" y="786"/>
                </a:lnTo>
                <a:lnTo>
                  <a:pt x="1208" y="785"/>
                </a:lnTo>
                <a:lnTo>
                  <a:pt x="1208" y="784"/>
                </a:lnTo>
                <a:lnTo>
                  <a:pt x="1208" y="781"/>
                </a:lnTo>
                <a:lnTo>
                  <a:pt x="1208" y="781"/>
                </a:lnTo>
                <a:lnTo>
                  <a:pt x="1208" y="781"/>
                </a:lnTo>
                <a:lnTo>
                  <a:pt x="1208" y="781"/>
                </a:lnTo>
                <a:lnTo>
                  <a:pt x="1209" y="777"/>
                </a:lnTo>
                <a:lnTo>
                  <a:pt x="1210" y="774"/>
                </a:lnTo>
                <a:lnTo>
                  <a:pt x="1212" y="773"/>
                </a:lnTo>
                <a:lnTo>
                  <a:pt x="1212" y="771"/>
                </a:lnTo>
                <a:lnTo>
                  <a:pt x="1212" y="771"/>
                </a:lnTo>
                <a:lnTo>
                  <a:pt x="1212" y="770"/>
                </a:lnTo>
                <a:lnTo>
                  <a:pt x="1212" y="770"/>
                </a:lnTo>
                <a:lnTo>
                  <a:pt x="1212" y="770"/>
                </a:lnTo>
                <a:lnTo>
                  <a:pt x="1210" y="770"/>
                </a:lnTo>
                <a:lnTo>
                  <a:pt x="1212" y="769"/>
                </a:lnTo>
                <a:lnTo>
                  <a:pt x="1212" y="769"/>
                </a:lnTo>
                <a:lnTo>
                  <a:pt x="1212" y="766"/>
                </a:lnTo>
                <a:lnTo>
                  <a:pt x="1213" y="766"/>
                </a:lnTo>
                <a:lnTo>
                  <a:pt x="1215" y="764"/>
                </a:lnTo>
                <a:lnTo>
                  <a:pt x="1215" y="764"/>
                </a:lnTo>
                <a:lnTo>
                  <a:pt x="1216" y="763"/>
                </a:lnTo>
                <a:lnTo>
                  <a:pt x="1216" y="763"/>
                </a:lnTo>
                <a:lnTo>
                  <a:pt x="1216" y="763"/>
                </a:lnTo>
                <a:lnTo>
                  <a:pt x="1217" y="763"/>
                </a:lnTo>
                <a:lnTo>
                  <a:pt x="1221" y="762"/>
                </a:lnTo>
                <a:lnTo>
                  <a:pt x="1223" y="760"/>
                </a:lnTo>
                <a:lnTo>
                  <a:pt x="1223" y="760"/>
                </a:lnTo>
                <a:lnTo>
                  <a:pt x="1223" y="758"/>
                </a:lnTo>
                <a:lnTo>
                  <a:pt x="1223" y="756"/>
                </a:lnTo>
                <a:lnTo>
                  <a:pt x="1224" y="755"/>
                </a:lnTo>
                <a:lnTo>
                  <a:pt x="1225" y="754"/>
                </a:lnTo>
                <a:lnTo>
                  <a:pt x="1228" y="752"/>
                </a:lnTo>
                <a:lnTo>
                  <a:pt x="1228" y="752"/>
                </a:lnTo>
                <a:lnTo>
                  <a:pt x="1228" y="751"/>
                </a:lnTo>
                <a:lnTo>
                  <a:pt x="1228" y="751"/>
                </a:lnTo>
                <a:lnTo>
                  <a:pt x="1230" y="751"/>
                </a:lnTo>
                <a:lnTo>
                  <a:pt x="1230" y="752"/>
                </a:lnTo>
                <a:lnTo>
                  <a:pt x="1231" y="752"/>
                </a:lnTo>
                <a:lnTo>
                  <a:pt x="1231" y="751"/>
                </a:lnTo>
                <a:lnTo>
                  <a:pt x="1231" y="751"/>
                </a:lnTo>
                <a:lnTo>
                  <a:pt x="1232" y="752"/>
                </a:lnTo>
                <a:lnTo>
                  <a:pt x="1232" y="750"/>
                </a:lnTo>
                <a:lnTo>
                  <a:pt x="1231" y="747"/>
                </a:lnTo>
                <a:lnTo>
                  <a:pt x="1231" y="745"/>
                </a:lnTo>
                <a:lnTo>
                  <a:pt x="1230" y="744"/>
                </a:lnTo>
                <a:lnTo>
                  <a:pt x="1225" y="744"/>
                </a:lnTo>
                <a:lnTo>
                  <a:pt x="1224" y="743"/>
                </a:lnTo>
                <a:lnTo>
                  <a:pt x="1224" y="743"/>
                </a:lnTo>
                <a:lnTo>
                  <a:pt x="1223" y="743"/>
                </a:lnTo>
                <a:lnTo>
                  <a:pt x="1223" y="745"/>
                </a:lnTo>
                <a:lnTo>
                  <a:pt x="1223" y="745"/>
                </a:lnTo>
                <a:lnTo>
                  <a:pt x="1223" y="745"/>
                </a:lnTo>
                <a:lnTo>
                  <a:pt x="1221" y="744"/>
                </a:lnTo>
                <a:lnTo>
                  <a:pt x="1221" y="743"/>
                </a:lnTo>
                <a:lnTo>
                  <a:pt x="1221" y="743"/>
                </a:lnTo>
                <a:lnTo>
                  <a:pt x="1221" y="743"/>
                </a:lnTo>
                <a:lnTo>
                  <a:pt x="1223" y="741"/>
                </a:lnTo>
                <a:lnTo>
                  <a:pt x="1224" y="736"/>
                </a:lnTo>
                <a:lnTo>
                  <a:pt x="1224" y="736"/>
                </a:lnTo>
                <a:lnTo>
                  <a:pt x="1225" y="735"/>
                </a:lnTo>
                <a:lnTo>
                  <a:pt x="1225" y="733"/>
                </a:lnTo>
                <a:lnTo>
                  <a:pt x="1227" y="735"/>
                </a:lnTo>
                <a:lnTo>
                  <a:pt x="1227" y="735"/>
                </a:lnTo>
                <a:lnTo>
                  <a:pt x="1227" y="737"/>
                </a:lnTo>
                <a:lnTo>
                  <a:pt x="1227" y="737"/>
                </a:lnTo>
                <a:lnTo>
                  <a:pt x="1228" y="739"/>
                </a:lnTo>
                <a:lnTo>
                  <a:pt x="1230" y="740"/>
                </a:lnTo>
                <a:lnTo>
                  <a:pt x="1231" y="740"/>
                </a:lnTo>
                <a:lnTo>
                  <a:pt x="1231" y="741"/>
                </a:lnTo>
                <a:lnTo>
                  <a:pt x="1232" y="741"/>
                </a:lnTo>
                <a:lnTo>
                  <a:pt x="1232" y="743"/>
                </a:lnTo>
                <a:lnTo>
                  <a:pt x="1234" y="743"/>
                </a:lnTo>
                <a:lnTo>
                  <a:pt x="1235" y="744"/>
                </a:lnTo>
                <a:lnTo>
                  <a:pt x="1236" y="744"/>
                </a:lnTo>
                <a:lnTo>
                  <a:pt x="1236" y="744"/>
                </a:lnTo>
                <a:lnTo>
                  <a:pt x="1238" y="744"/>
                </a:lnTo>
                <a:lnTo>
                  <a:pt x="1239" y="744"/>
                </a:lnTo>
                <a:lnTo>
                  <a:pt x="1239" y="745"/>
                </a:lnTo>
                <a:lnTo>
                  <a:pt x="1239" y="745"/>
                </a:lnTo>
                <a:lnTo>
                  <a:pt x="1239" y="747"/>
                </a:lnTo>
                <a:lnTo>
                  <a:pt x="1240" y="747"/>
                </a:lnTo>
                <a:lnTo>
                  <a:pt x="1240" y="747"/>
                </a:lnTo>
                <a:lnTo>
                  <a:pt x="1242" y="747"/>
                </a:lnTo>
                <a:lnTo>
                  <a:pt x="1242" y="748"/>
                </a:lnTo>
                <a:lnTo>
                  <a:pt x="1242" y="748"/>
                </a:lnTo>
                <a:lnTo>
                  <a:pt x="1242" y="750"/>
                </a:lnTo>
                <a:lnTo>
                  <a:pt x="1243" y="750"/>
                </a:lnTo>
                <a:lnTo>
                  <a:pt x="1243" y="750"/>
                </a:lnTo>
                <a:lnTo>
                  <a:pt x="1243" y="751"/>
                </a:lnTo>
                <a:lnTo>
                  <a:pt x="1243" y="751"/>
                </a:lnTo>
                <a:lnTo>
                  <a:pt x="1244" y="752"/>
                </a:lnTo>
                <a:lnTo>
                  <a:pt x="1246" y="752"/>
                </a:lnTo>
                <a:lnTo>
                  <a:pt x="1246" y="754"/>
                </a:lnTo>
                <a:lnTo>
                  <a:pt x="1246" y="755"/>
                </a:lnTo>
                <a:lnTo>
                  <a:pt x="1244" y="755"/>
                </a:lnTo>
                <a:lnTo>
                  <a:pt x="1242" y="756"/>
                </a:lnTo>
                <a:lnTo>
                  <a:pt x="1242" y="756"/>
                </a:lnTo>
                <a:lnTo>
                  <a:pt x="1243" y="758"/>
                </a:lnTo>
                <a:lnTo>
                  <a:pt x="1249" y="755"/>
                </a:lnTo>
                <a:lnTo>
                  <a:pt x="1250" y="756"/>
                </a:lnTo>
                <a:lnTo>
                  <a:pt x="1250" y="758"/>
                </a:lnTo>
                <a:lnTo>
                  <a:pt x="1251" y="759"/>
                </a:lnTo>
                <a:lnTo>
                  <a:pt x="1251" y="759"/>
                </a:lnTo>
                <a:lnTo>
                  <a:pt x="1253" y="760"/>
                </a:lnTo>
                <a:lnTo>
                  <a:pt x="1254" y="759"/>
                </a:lnTo>
                <a:lnTo>
                  <a:pt x="1254" y="758"/>
                </a:lnTo>
                <a:lnTo>
                  <a:pt x="1255" y="756"/>
                </a:lnTo>
                <a:lnTo>
                  <a:pt x="1257" y="756"/>
                </a:lnTo>
                <a:lnTo>
                  <a:pt x="1259" y="759"/>
                </a:lnTo>
                <a:lnTo>
                  <a:pt x="1262" y="760"/>
                </a:lnTo>
                <a:lnTo>
                  <a:pt x="1265" y="759"/>
                </a:lnTo>
                <a:lnTo>
                  <a:pt x="1266" y="759"/>
                </a:lnTo>
                <a:lnTo>
                  <a:pt x="1265" y="758"/>
                </a:lnTo>
                <a:lnTo>
                  <a:pt x="1265" y="758"/>
                </a:lnTo>
                <a:lnTo>
                  <a:pt x="1264" y="758"/>
                </a:lnTo>
                <a:lnTo>
                  <a:pt x="1264" y="756"/>
                </a:lnTo>
                <a:lnTo>
                  <a:pt x="1264" y="755"/>
                </a:lnTo>
                <a:lnTo>
                  <a:pt x="1264" y="756"/>
                </a:lnTo>
                <a:lnTo>
                  <a:pt x="1262" y="756"/>
                </a:lnTo>
                <a:lnTo>
                  <a:pt x="1262" y="756"/>
                </a:lnTo>
                <a:lnTo>
                  <a:pt x="1262" y="755"/>
                </a:lnTo>
                <a:lnTo>
                  <a:pt x="1261" y="754"/>
                </a:lnTo>
                <a:lnTo>
                  <a:pt x="1259" y="752"/>
                </a:lnTo>
                <a:lnTo>
                  <a:pt x="1258" y="752"/>
                </a:lnTo>
                <a:lnTo>
                  <a:pt x="1257" y="751"/>
                </a:lnTo>
                <a:lnTo>
                  <a:pt x="1257" y="750"/>
                </a:lnTo>
                <a:lnTo>
                  <a:pt x="1257" y="748"/>
                </a:lnTo>
                <a:lnTo>
                  <a:pt x="1258" y="747"/>
                </a:lnTo>
                <a:lnTo>
                  <a:pt x="1258" y="747"/>
                </a:lnTo>
                <a:lnTo>
                  <a:pt x="1259" y="745"/>
                </a:lnTo>
                <a:lnTo>
                  <a:pt x="1261" y="745"/>
                </a:lnTo>
                <a:lnTo>
                  <a:pt x="1261" y="747"/>
                </a:lnTo>
                <a:lnTo>
                  <a:pt x="1262" y="747"/>
                </a:lnTo>
                <a:lnTo>
                  <a:pt x="1262" y="748"/>
                </a:lnTo>
                <a:lnTo>
                  <a:pt x="1264" y="748"/>
                </a:lnTo>
                <a:lnTo>
                  <a:pt x="1264" y="750"/>
                </a:lnTo>
                <a:lnTo>
                  <a:pt x="1265" y="750"/>
                </a:lnTo>
                <a:lnTo>
                  <a:pt x="1266" y="750"/>
                </a:lnTo>
                <a:lnTo>
                  <a:pt x="1266" y="750"/>
                </a:lnTo>
                <a:lnTo>
                  <a:pt x="1266" y="751"/>
                </a:lnTo>
                <a:lnTo>
                  <a:pt x="1266" y="751"/>
                </a:lnTo>
                <a:lnTo>
                  <a:pt x="1266" y="752"/>
                </a:lnTo>
                <a:lnTo>
                  <a:pt x="1268" y="752"/>
                </a:lnTo>
                <a:lnTo>
                  <a:pt x="1269" y="752"/>
                </a:lnTo>
                <a:lnTo>
                  <a:pt x="1269" y="754"/>
                </a:lnTo>
                <a:lnTo>
                  <a:pt x="1269" y="754"/>
                </a:lnTo>
                <a:lnTo>
                  <a:pt x="1269" y="755"/>
                </a:lnTo>
                <a:lnTo>
                  <a:pt x="1268" y="754"/>
                </a:lnTo>
                <a:lnTo>
                  <a:pt x="1268" y="754"/>
                </a:lnTo>
                <a:lnTo>
                  <a:pt x="1268" y="756"/>
                </a:lnTo>
                <a:lnTo>
                  <a:pt x="1268" y="758"/>
                </a:lnTo>
                <a:lnTo>
                  <a:pt x="1269" y="759"/>
                </a:lnTo>
                <a:lnTo>
                  <a:pt x="1269" y="760"/>
                </a:lnTo>
                <a:lnTo>
                  <a:pt x="1270" y="764"/>
                </a:lnTo>
                <a:lnTo>
                  <a:pt x="1270" y="766"/>
                </a:lnTo>
                <a:lnTo>
                  <a:pt x="1272" y="766"/>
                </a:lnTo>
                <a:lnTo>
                  <a:pt x="1276" y="769"/>
                </a:lnTo>
                <a:lnTo>
                  <a:pt x="1276" y="769"/>
                </a:lnTo>
                <a:lnTo>
                  <a:pt x="1277" y="770"/>
                </a:lnTo>
                <a:lnTo>
                  <a:pt x="1277" y="770"/>
                </a:lnTo>
                <a:lnTo>
                  <a:pt x="1277" y="771"/>
                </a:lnTo>
                <a:lnTo>
                  <a:pt x="1280" y="773"/>
                </a:lnTo>
                <a:lnTo>
                  <a:pt x="1281" y="774"/>
                </a:lnTo>
                <a:lnTo>
                  <a:pt x="1283" y="774"/>
                </a:lnTo>
                <a:lnTo>
                  <a:pt x="1284" y="775"/>
                </a:lnTo>
                <a:lnTo>
                  <a:pt x="1284" y="775"/>
                </a:lnTo>
                <a:lnTo>
                  <a:pt x="1285" y="775"/>
                </a:lnTo>
                <a:lnTo>
                  <a:pt x="1287" y="774"/>
                </a:lnTo>
                <a:lnTo>
                  <a:pt x="1287" y="774"/>
                </a:lnTo>
                <a:lnTo>
                  <a:pt x="1288" y="775"/>
                </a:lnTo>
                <a:lnTo>
                  <a:pt x="1288" y="775"/>
                </a:lnTo>
                <a:lnTo>
                  <a:pt x="1288" y="775"/>
                </a:lnTo>
                <a:lnTo>
                  <a:pt x="1289" y="775"/>
                </a:lnTo>
                <a:lnTo>
                  <a:pt x="1289" y="775"/>
                </a:lnTo>
                <a:lnTo>
                  <a:pt x="1292" y="775"/>
                </a:lnTo>
                <a:lnTo>
                  <a:pt x="1292" y="775"/>
                </a:lnTo>
                <a:lnTo>
                  <a:pt x="1293" y="775"/>
                </a:lnTo>
                <a:lnTo>
                  <a:pt x="1293" y="775"/>
                </a:lnTo>
                <a:lnTo>
                  <a:pt x="1293" y="777"/>
                </a:lnTo>
                <a:lnTo>
                  <a:pt x="1295" y="778"/>
                </a:lnTo>
                <a:lnTo>
                  <a:pt x="1295" y="778"/>
                </a:lnTo>
                <a:lnTo>
                  <a:pt x="1296" y="778"/>
                </a:lnTo>
                <a:lnTo>
                  <a:pt x="1296" y="777"/>
                </a:lnTo>
                <a:lnTo>
                  <a:pt x="1296" y="777"/>
                </a:lnTo>
                <a:lnTo>
                  <a:pt x="1296" y="775"/>
                </a:lnTo>
                <a:lnTo>
                  <a:pt x="1298" y="774"/>
                </a:lnTo>
                <a:lnTo>
                  <a:pt x="1300" y="771"/>
                </a:lnTo>
                <a:lnTo>
                  <a:pt x="1300" y="770"/>
                </a:lnTo>
                <a:lnTo>
                  <a:pt x="1300" y="770"/>
                </a:lnTo>
                <a:lnTo>
                  <a:pt x="1299" y="770"/>
                </a:lnTo>
                <a:lnTo>
                  <a:pt x="1298" y="770"/>
                </a:lnTo>
                <a:lnTo>
                  <a:pt x="1298" y="770"/>
                </a:lnTo>
                <a:lnTo>
                  <a:pt x="1298" y="769"/>
                </a:lnTo>
                <a:lnTo>
                  <a:pt x="1298" y="769"/>
                </a:lnTo>
                <a:lnTo>
                  <a:pt x="1299" y="767"/>
                </a:lnTo>
                <a:lnTo>
                  <a:pt x="1300" y="767"/>
                </a:lnTo>
                <a:lnTo>
                  <a:pt x="1299" y="767"/>
                </a:lnTo>
                <a:lnTo>
                  <a:pt x="1298" y="766"/>
                </a:lnTo>
                <a:lnTo>
                  <a:pt x="1298" y="766"/>
                </a:lnTo>
                <a:lnTo>
                  <a:pt x="1298" y="764"/>
                </a:lnTo>
                <a:lnTo>
                  <a:pt x="1299" y="764"/>
                </a:lnTo>
                <a:lnTo>
                  <a:pt x="1299" y="764"/>
                </a:lnTo>
                <a:lnTo>
                  <a:pt x="1299" y="763"/>
                </a:lnTo>
                <a:lnTo>
                  <a:pt x="1300" y="764"/>
                </a:lnTo>
                <a:lnTo>
                  <a:pt x="1300" y="764"/>
                </a:lnTo>
                <a:lnTo>
                  <a:pt x="1300" y="763"/>
                </a:lnTo>
                <a:lnTo>
                  <a:pt x="1300" y="760"/>
                </a:lnTo>
                <a:lnTo>
                  <a:pt x="1300" y="760"/>
                </a:lnTo>
                <a:lnTo>
                  <a:pt x="1302" y="760"/>
                </a:lnTo>
                <a:lnTo>
                  <a:pt x="1303" y="760"/>
                </a:lnTo>
                <a:lnTo>
                  <a:pt x="1303" y="762"/>
                </a:lnTo>
                <a:lnTo>
                  <a:pt x="1303" y="763"/>
                </a:lnTo>
                <a:lnTo>
                  <a:pt x="1303" y="764"/>
                </a:lnTo>
                <a:lnTo>
                  <a:pt x="1303" y="764"/>
                </a:lnTo>
                <a:lnTo>
                  <a:pt x="1303" y="764"/>
                </a:lnTo>
                <a:lnTo>
                  <a:pt x="1304" y="764"/>
                </a:lnTo>
                <a:lnTo>
                  <a:pt x="1304" y="764"/>
                </a:lnTo>
                <a:lnTo>
                  <a:pt x="1306" y="764"/>
                </a:lnTo>
                <a:lnTo>
                  <a:pt x="1306" y="764"/>
                </a:lnTo>
                <a:lnTo>
                  <a:pt x="1307" y="766"/>
                </a:lnTo>
                <a:lnTo>
                  <a:pt x="1307" y="766"/>
                </a:lnTo>
                <a:lnTo>
                  <a:pt x="1307" y="767"/>
                </a:lnTo>
                <a:lnTo>
                  <a:pt x="1308" y="769"/>
                </a:lnTo>
                <a:lnTo>
                  <a:pt x="1308" y="770"/>
                </a:lnTo>
                <a:lnTo>
                  <a:pt x="1308" y="770"/>
                </a:lnTo>
                <a:lnTo>
                  <a:pt x="1308" y="771"/>
                </a:lnTo>
                <a:lnTo>
                  <a:pt x="1308" y="773"/>
                </a:lnTo>
                <a:lnTo>
                  <a:pt x="1308" y="773"/>
                </a:lnTo>
                <a:lnTo>
                  <a:pt x="1310" y="774"/>
                </a:lnTo>
                <a:lnTo>
                  <a:pt x="1311" y="775"/>
                </a:lnTo>
                <a:lnTo>
                  <a:pt x="1311" y="775"/>
                </a:lnTo>
                <a:lnTo>
                  <a:pt x="1311" y="775"/>
                </a:lnTo>
                <a:lnTo>
                  <a:pt x="1311" y="775"/>
                </a:lnTo>
                <a:lnTo>
                  <a:pt x="1312" y="775"/>
                </a:lnTo>
                <a:lnTo>
                  <a:pt x="1312" y="775"/>
                </a:lnTo>
                <a:lnTo>
                  <a:pt x="1312" y="775"/>
                </a:lnTo>
                <a:lnTo>
                  <a:pt x="1312" y="775"/>
                </a:lnTo>
                <a:lnTo>
                  <a:pt x="1312" y="775"/>
                </a:lnTo>
                <a:lnTo>
                  <a:pt x="1312" y="775"/>
                </a:lnTo>
                <a:lnTo>
                  <a:pt x="1312" y="775"/>
                </a:lnTo>
                <a:lnTo>
                  <a:pt x="1314" y="777"/>
                </a:lnTo>
                <a:lnTo>
                  <a:pt x="1314" y="777"/>
                </a:lnTo>
                <a:lnTo>
                  <a:pt x="1312" y="778"/>
                </a:lnTo>
                <a:lnTo>
                  <a:pt x="1311" y="778"/>
                </a:lnTo>
                <a:lnTo>
                  <a:pt x="1312" y="779"/>
                </a:lnTo>
                <a:lnTo>
                  <a:pt x="1314" y="779"/>
                </a:lnTo>
                <a:lnTo>
                  <a:pt x="1314" y="779"/>
                </a:lnTo>
                <a:lnTo>
                  <a:pt x="1314" y="781"/>
                </a:lnTo>
                <a:lnTo>
                  <a:pt x="1311" y="786"/>
                </a:lnTo>
                <a:lnTo>
                  <a:pt x="1311" y="788"/>
                </a:lnTo>
                <a:lnTo>
                  <a:pt x="1311" y="793"/>
                </a:lnTo>
                <a:lnTo>
                  <a:pt x="1312" y="797"/>
                </a:lnTo>
                <a:lnTo>
                  <a:pt x="1314" y="800"/>
                </a:lnTo>
                <a:lnTo>
                  <a:pt x="1312" y="804"/>
                </a:lnTo>
                <a:lnTo>
                  <a:pt x="1312" y="809"/>
                </a:lnTo>
                <a:lnTo>
                  <a:pt x="1312" y="812"/>
                </a:lnTo>
                <a:lnTo>
                  <a:pt x="1311" y="813"/>
                </a:lnTo>
                <a:lnTo>
                  <a:pt x="1311" y="815"/>
                </a:lnTo>
                <a:lnTo>
                  <a:pt x="1311" y="816"/>
                </a:lnTo>
                <a:lnTo>
                  <a:pt x="1311" y="819"/>
                </a:lnTo>
                <a:lnTo>
                  <a:pt x="1312" y="822"/>
                </a:lnTo>
                <a:lnTo>
                  <a:pt x="1312" y="823"/>
                </a:lnTo>
                <a:lnTo>
                  <a:pt x="1314" y="823"/>
                </a:lnTo>
                <a:lnTo>
                  <a:pt x="1315" y="822"/>
                </a:lnTo>
                <a:lnTo>
                  <a:pt x="1318" y="822"/>
                </a:lnTo>
                <a:lnTo>
                  <a:pt x="1332" y="827"/>
                </a:lnTo>
                <a:lnTo>
                  <a:pt x="1341" y="830"/>
                </a:lnTo>
                <a:lnTo>
                  <a:pt x="1346" y="831"/>
                </a:lnTo>
                <a:lnTo>
                  <a:pt x="1348" y="831"/>
                </a:lnTo>
                <a:lnTo>
                  <a:pt x="1355" y="830"/>
                </a:lnTo>
                <a:lnTo>
                  <a:pt x="1359" y="830"/>
                </a:lnTo>
                <a:lnTo>
                  <a:pt x="1361" y="830"/>
                </a:lnTo>
                <a:lnTo>
                  <a:pt x="1363" y="830"/>
                </a:lnTo>
                <a:lnTo>
                  <a:pt x="1363" y="830"/>
                </a:lnTo>
                <a:lnTo>
                  <a:pt x="1364" y="831"/>
                </a:lnTo>
                <a:lnTo>
                  <a:pt x="1367" y="831"/>
                </a:lnTo>
                <a:lnTo>
                  <a:pt x="1367" y="831"/>
                </a:lnTo>
                <a:lnTo>
                  <a:pt x="1367" y="831"/>
                </a:lnTo>
                <a:lnTo>
                  <a:pt x="1368" y="830"/>
                </a:lnTo>
                <a:lnTo>
                  <a:pt x="1368" y="830"/>
                </a:lnTo>
                <a:lnTo>
                  <a:pt x="1370" y="830"/>
                </a:lnTo>
                <a:lnTo>
                  <a:pt x="1370" y="831"/>
                </a:lnTo>
                <a:lnTo>
                  <a:pt x="1371" y="831"/>
                </a:lnTo>
                <a:lnTo>
                  <a:pt x="1372" y="831"/>
                </a:lnTo>
                <a:lnTo>
                  <a:pt x="1374" y="831"/>
                </a:lnTo>
                <a:lnTo>
                  <a:pt x="1380" y="831"/>
                </a:lnTo>
                <a:lnTo>
                  <a:pt x="1380" y="831"/>
                </a:lnTo>
                <a:lnTo>
                  <a:pt x="1383" y="830"/>
                </a:lnTo>
                <a:lnTo>
                  <a:pt x="1393" y="828"/>
                </a:lnTo>
                <a:lnTo>
                  <a:pt x="1395" y="828"/>
                </a:lnTo>
                <a:lnTo>
                  <a:pt x="1397" y="828"/>
                </a:lnTo>
                <a:lnTo>
                  <a:pt x="1398" y="828"/>
                </a:lnTo>
                <a:lnTo>
                  <a:pt x="1398" y="828"/>
                </a:lnTo>
                <a:lnTo>
                  <a:pt x="1401" y="830"/>
                </a:lnTo>
                <a:lnTo>
                  <a:pt x="1410" y="832"/>
                </a:lnTo>
                <a:lnTo>
                  <a:pt x="1413" y="832"/>
                </a:lnTo>
                <a:lnTo>
                  <a:pt x="1413" y="832"/>
                </a:lnTo>
                <a:lnTo>
                  <a:pt x="1414" y="831"/>
                </a:lnTo>
                <a:lnTo>
                  <a:pt x="1416" y="831"/>
                </a:lnTo>
                <a:lnTo>
                  <a:pt x="1416" y="831"/>
                </a:lnTo>
                <a:lnTo>
                  <a:pt x="1417" y="831"/>
                </a:lnTo>
                <a:lnTo>
                  <a:pt x="1417" y="831"/>
                </a:lnTo>
                <a:lnTo>
                  <a:pt x="1419" y="831"/>
                </a:lnTo>
                <a:lnTo>
                  <a:pt x="1419" y="831"/>
                </a:lnTo>
                <a:lnTo>
                  <a:pt x="1420" y="831"/>
                </a:lnTo>
                <a:lnTo>
                  <a:pt x="1420" y="832"/>
                </a:lnTo>
                <a:lnTo>
                  <a:pt x="1421" y="832"/>
                </a:lnTo>
                <a:lnTo>
                  <a:pt x="1423" y="832"/>
                </a:lnTo>
                <a:lnTo>
                  <a:pt x="1424" y="832"/>
                </a:lnTo>
                <a:lnTo>
                  <a:pt x="1425" y="832"/>
                </a:lnTo>
                <a:lnTo>
                  <a:pt x="1425" y="831"/>
                </a:lnTo>
                <a:lnTo>
                  <a:pt x="1425" y="831"/>
                </a:lnTo>
                <a:lnTo>
                  <a:pt x="1427" y="831"/>
                </a:lnTo>
                <a:lnTo>
                  <a:pt x="1427" y="831"/>
                </a:lnTo>
                <a:lnTo>
                  <a:pt x="1428" y="831"/>
                </a:lnTo>
                <a:lnTo>
                  <a:pt x="1428" y="830"/>
                </a:lnTo>
                <a:lnTo>
                  <a:pt x="1428" y="830"/>
                </a:lnTo>
                <a:lnTo>
                  <a:pt x="1429" y="830"/>
                </a:lnTo>
                <a:lnTo>
                  <a:pt x="1432" y="830"/>
                </a:lnTo>
                <a:lnTo>
                  <a:pt x="1439" y="830"/>
                </a:lnTo>
                <a:lnTo>
                  <a:pt x="1442" y="830"/>
                </a:lnTo>
                <a:lnTo>
                  <a:pt x="1443" y="830"/>
                </a:lnTo>
                <a:lnTo>
                  <a:pt x="1444" y="828"/>
                </a:lnTo>
                <a:lnTo>
                  <a:pt x="1447" y="830"/>
                </a:lnTo>
                <a:lnTo>
                  <a:pt x="1448" y="830"/>
                </a:lnTo>
                <a:lnTo>
                  <a:pt x="1450" y="830"/>
                </a:lnTo>
                <a:lnTo>
                  <a:pt x="1451" y="831"/>
                </a:lnTo>
                <a:lnTo>
                  <a:pt x="1451" y="831"/>
                </a:lnTo>
                <a:lnTo>
                  <a:pt x="1451" y="832"/>
                </a:lnTo>
                <a:lnTo>
                  <a:pt x="1453" y="832"/>
                </a:lnTo>
                <a:lnTo>
                  <a:pt x="1454" y="832"/>
                </a:lnTo>
                <a:lnTo>
                  <a:pt x="1454" y="832"/>
                </a:lnTo>
                <a:lnTo>
                  <a:pt x="1454" y="832"/>
                </a:lnTo>
                <a:lnTo>
                  <a:pt x="1455" y="832"/>
                </a:lnTo>
                <a:lnTo>
                  <a:pt x="1455" y="832"/>
                </a:lnTo>
                <a:lnTo>
                  <a:pt x="1455" y="832"/>
                </a:lnTo>
                <a:lnTo>
                  <a:pt x="1457" y="834"/>
                </a:lnTo>
                <a:lnTo>
                  <a:pt x="1458" y="835"/>
                </a:lnTo>
                <a:lnTo>
                  <a:pt x="1458" y="835"/>
                </a:lnTo>
                <a:lnTo>
                  <a:pt x="1459" y="835"/>
                </a:lnTo>
                <a:lnTo>
                  <a:pt x="1461" y="835"/>
                </a:lnTo>
                <a:lnTo>
                  <a:pt x="1463" y="837"/>
                </a:lnTo>
                <a:lnTo>
                  <a:pt x="1463" y="837"/>
                </a:lnTo>
                <a:lnTo>
                  <a:pt x="1465" y="838"/>
                </a:lnTo>
                <a:lnTo>
                  <a:pt x="1466" y="839"/>
                </a:lnTo>
                <a:lnTo>
                  <a:pt x="1468" y="839"/>
                </a:lnTo>
                <a:lnTo>
                  <a:pt x="1468" y="841"/>
                </a:lnTo>
                <a:lnTo>
                  <a:pt x="1469" y="842"/>
                </a:lnTo>
                <a:lnTo>
                  <a:pt x="1469" y="842"/>
                </a:lnTo>
                <a:lnTo>
                  <a:pt x="1469" y="842"/>
                </a:lnTo>
                <a:lnTo>
                  <a:pt x="1470" y="842"/>
                </a:lnTo>
                <a:lnTo>
                  <a:pt x="1470" y="842"/>
                </a:lnTo>
                <a:lnTo>
                  <a:pt x="1470" y="842"/>
                </a:lnTo>
                <a:lnTo>
                  <a:pt x="1470" y="842"/>
                </a:lnTo>
                <a:lnTo>
                  <a:pt x="1470" y="842"/>
                </a:lnTo>
                <a:lnTo>
                  <a:pt x="1472" y="843"/>
                </a:lnTo>
                <a:lnTo>
                  <a:pt x="1472" y="843"/>
                </a:lnTo>
                <a:lnTo>
                  <a:pt x="1473" y="843"/>
                </a:lnTo>
                <a:lnTo>
                  <a:pt x="1473" y="843"/>
                </a:lnTo>
                <a:lnTo>
                  <a:pt x="1473" y="845"/>
                </a:lnTo>
                <a:lnTo>
                  <a:pt x="1473" y="845"/>
                </a:lnTo>
                <a:lnTo>
                  <a:pt x="1472" y="845"/>
                </a:lnTo>
                <a:lnTo>
                  <a:pt x="1472" y="845"/>
                </a:lnTo>
                <a:lnTo>
                  <a:pt x="1473" y="845"/>
                </a:lnTo>
                <a:lnTo>
                  <a:pt x="1474" y="846"/>
                </a:lnTo>
                <a:lnTo>
                  <a:pt x="1474" y="847"/>
                </a:lnTo>
                <a:lnTo>
                  <a:pt x="1474" y="847"/>
                </a:lnTo>
                <a:lnTo>
                  <a:pt x="1474" y="847"/>
                </a:lnTo>
                <a:lnTo>
                  <a:pt x="1474" y="849"/>
                </a:lnTo>
                <a:lnTo>
                  <a:pt x="1474" y="850"/>
                </a:lnTo>
                <a:lnTo>
                  <a:pt x="1472" y="850"/>
                </a:lnTo>
                <a:lnTo>
                  <a:pt x="1468" y="852"/>
                </a:lnTo>
                <a:lnTo>
                  <a:pt x="1468" y="852"/>
                </a:lnTo>
                <a:lnTo>
                  <a:pt x="1468" y="852"/>
                </a:lnTo>
                <a:lnTo>
                  <a:pt x="1468" y="852"/>
                </a:lnTo>
                <a:lnTo>
                  <a:pt x="1466" y="852"/>
                </a:lnTo>
                <a:lnTo>
                  <a:pt x="1466" y="852"/>
                </a:lnTo>
                <a:lnTo>
                  <a:pt x="1466" y="850"/>
                </a:lnTo>
                <a:lnTo>
                  <a:pt x="1466" y="850"/>
                </a:lnTo>
                <a:lnTo>
                  <a:pt x="1462" y="849"/>
                </a:lnTo>
                <a:lnTo>
                  <a:pt x="1462" y="849"/>
                </a:lnTo>
                <a:lnTo>
                  <a:pt x="1461" y="847"/>
                </a:lnTo>
                <a:lnTo>
                  <a:pt x="1458" y="849"/>
                </a:lnTo>
                <a:lnTo>
                  <a:pt x="1458" y="849"/>
                </a:lnTo>
                <a:lnTo>
                  <a:pt x="1458" y="850"/>
                </a:lnTo>
                <a:lnTo>
                  <a:pt x="1458" y="850"/>
                </a:lnTo>
                <a:lnTo>
                  <a:pt x="1459" y="853"/>
                </a:lnTo>
                <a:lnTo>
                  <a:pt x="1459" y="853"/>
                </a:lnTo>
                <a:lnTo>
                  <a:pt x="1459" y="854"/>
                </a:lnTo>
                <a:lnTo>
                  <a:pt x="1459" y="854"/>
                </a:lnTo>
                <a:lnTo>
                  <a:pt x="1459" y="856"/>
                </a:lnTo>
                <a:lnTo>
                  <a:pt x="1455" y="864"/>
                </a:lnTo>
                <a:lnTo>
                  <a:pt x="1455" y="866"/>
                </a:lnTo>
                <a:lnTo>
                  <a:pt x="1455" y="869"/>
                </a:lnTo>
                <a:lnTo>
                  <a:pt x="1455" y="871"/>
                </a:lnTo>
                <a:lnTo>
                  <a:pt x="1454" y="871"/>
                </a:lnTo>
                <a:lnTo>
                  <a:pt x="1454" y="871"/>
                </a:lnTo>
                <a:lnTo>
                  <a:pt x="1454" y="872"/>
                </a:lnTo>
                <a:lnTo>
                  <a:pt x="1453" y="872"/>
                </a:lnTo>
                <a:lnTo>
                  <a:pt x="1451" y="873"/>
                </a:lnTo>
                <a:lnTo>
                  <a:pt x="1451" y="875"/>
                </a:lnTo>
                <a:lnTo>
                  <a:pt x="1451" y="879"/>
                </a:lnTo>
                <a:lnTo>
                  <a:pt x="1451" y="880"/>
                </a:lnTo>
                <a:lnTo>
                  <a:pt x="1450" y="881"/>
                </a:lnTo>
                <a:lnTo>
                  <a:pt x="1448" y="883"/>
                </a:lnTo>
                <a:lnTo>
                  <a:pt x="1447" y="883"/>
                </a:lnTo>
                <a:lnTo>
                  <a:pt x="1442" y="881"/>
                </a:lnTo>
                <a:lnTo>
                  <a:pt x="1442" y="883"/>
                </a:lnTo>
                <a:lnTo>
                  <a:pt x="1443" y="886"/>
                </a:lnTo>
                <a:lnTo>
                  <a:pt x="1443" y="886"/>
                </a:lnTo>
                <a:lnTo>
                  <a:pt x="1442" y="886"/>
                </a:lnTo>
                <a:lnTo>
                  <a:pt x="1440" y="884"/>
                </a:lnTo>
                <a:lnTo>
                  <a:pt x="1440" y="884"/>
                </a:lnTo>
                <a:lnTo>
                  <a:pt x="1439" y="884"/>
                </a:lnTo>
                <a:lnTo>
                  <a:pt x="1439" y="886"/>
                </a:lnTo>
                <a:lnTo>
                  <a:pt x="1439" y="888"/>
                </a:lnTo>
                <a:lnTo>
                  <a:pt x="1439" y="890"/>
                </a:lnTo>
                <a:lnTo>
                  <a:pt x="1438" y="895"/>
                </a:lnTo>
                <a:lnTo>
                  <a:pt x="1438" y="896"/>
                </a:lnTo>
                <a:lnTo>
                  <a:pt x="1436" y="896"/>
                </a:lnTo>
                <a:lnTo>
                  <a:pt x="1435" y="896"/>
                </a:lnTo>
                <a:lnTo>
                  <a:pt x="1434" y="895"/>
                </a:lnTo>
                <a:lnTo>
                  <a:pt x="1434" y="894"/>
                </a:lnTo>
                <a:lnTo>
                  <a:pt x="1434" y="892"/>
                </a:lnTo>
                <a:lnTo>
                  <a:pt x="1434" y="892"/>
                </a:lnTo>
                <a:lnTo>
                  <a:pt x="1432" y="892"/>
                </a:lnTo>
                <a:lnTo>
                  <a:pt x="1428" y="891"/>
                </a:lnTo>
                <a:lnTo>
                  <a:pt x="1428" y="892"/>
                </a:lnTo>
                <a:lnTo>
                  <a:pt x="1428" y="894"/>
                </a:lnTo>
                <a:lnTo>
                  <a:pt x="1428" y="895"/>
                </a:lnTo>
                <a:lnTo>
                  <a:pt x="1428" y="896"/>
                </a:lnTo>
                <a:lnTo>
                  <a:pt x="1428" y="896"/>
                </a:lnTo>
                <a:lnTo>
                  <a:pt x="1427" y="898"/>
                </a:lnTo>
                <a:lnTo>
                  <a:pt x="1425" y="896"/>
                </a:lnTo>
                <a:lnTo>
                  <a:pt x="1424" y="896"/>
                </a:lnTo>
                <a:lnTo>
                  <a:pt x="1424" y="895"/>
                </a:lnTo>
                <a:lnTo>
                  <a:pt x="1423" y="892"/>
                </a:lnTo>
                <a:lnTo>
                  <a:pt x="1423" y="892"/>
                </a:lnTo>
                <a:lnTo>
                  <a:pt x="1423" y="894"/>
                </a:lnTo>
                <a:lnTo>
                  <a:pt x="1421" y="898"/>
                </a:lnTo>
                <a:lnTo>
                  <a:pt x="1421" y="899"/>
                </a:lnTo>
                <a:lnTo>
                  <a:pt x="1420" y="899"/>
                </a:lnTo>
                <a:lnTo>
                  <a:pt x="1420" y="900"/>
                </a:lnTo>
                <a:lnTo>
                  <a:pt x="1419" y="900"/>
                </a:lnTo>
                <a:lnTo>
                  <a:pt x="1416" y="900"/>
                </a:lnTo>
                <a:lnTo>
                  <a:pt x="1413" y="900"/>
                </a:lnTo>
                <a:lnTo>
                  <a:pt x="1409" y="900"/>
                </a:lnTo>
                <a:lnTo>
                  <a:pt x="1406" y="900"/>
                </a:lnTo>
                <a:lnTo>
                  <a:pt x="1405" y="902"/>
                </a:lnTo>
                <a:lnTo>
                  <a:pt x="1405" y="905"/>
                </a:lnTo>
                <a:lnTo>
                  <a:pt x="1405" y="907"/>
                </a:lnTo>
                <a:lnTo>
                  <a:pt x="1404" y="907"/>
                </a:lnTo>
                <a:lnTo>
                  <a:pt x="1404" y="907"/>
                </a:lnTo>
                <a:lnTo>
                  <a:pt x="1404" y="907"/>
                </a:lnTo>
                <a:lnTo>
                  <a:pt x="1402" y="907"/>
                </a:lnTo>
                <a:lnTo>
                  <a:pt x="1402" y="907"/>
                </a:lnTo>
                <a:lnTo>
                  <a:pt x="1401" y="907"/>
                </a:lnTo>
                <a:lnTo>
                  <a:pt x="1400" y="909"/>
                </a:lnTo>
                <a:lnTo>
                  <a:pt x="1400" y="909"/>
                </a:lnTo>
                <a:lnTo>
                  <a:pt x="1397" y="913"/>
                </a:lnTo>
                <a:lnTo>
                  <a:pt x="1397" y="914"/>
                </a:lnTo>
                <a:lnTo>
                  <a:pt x="1397" y="914"/>
                </a:lnTo>
                <a:lnTo>
                  <a:pt x="1398" y="915"/>
                </a:lnTo>
                <a:lnTo>
                  <a:pt x="1398" y="917"/>
                </a:lnTo>
                <a:lnTo>
                  <a:pt x="1398" y="918"/>
                </a:lnTo>
                <a:lnTo>
                  <a:pt x="1397" y="921"/>
                </a:lnTo>
                <a:lnTo>
                  <a:pt x="1395" y="922"/>
                </a:lnTo>
                <a:lnTo>
                  <a:pt x="1395" y="924"/>
                </a:lnTo>
                <a:lnTo>
                  <a:pt x="1394" y="924"/>
                </a:lnTo>
                <a:lnTo>
                  <a:pt x="1393" y="924"/>
                </a:lnTo>
                <a:lnTo>
                  <a:pt x="1393" y="925"/>
                </a:lnTo>
                <a:lnTo>
                  <a:pt x="1393" y="926"/>
                </a:lnTo>
                <a:lnTo>
                  <a:pt x="1394" y="926"/>
                </a:lnTo>
                <a:lnTo>
                  <a:pt x="1394" y="928"/>
                </a:lnTo>
                <a:lnTo>
                  <a:pt x="1395" y="928"/>
                </a:lnTo>
                <a:lnTo>
                  <a:pt x="1394" y="929"/>
                </a:lnTo>
                <a:lnTo>
                  <a:pt x="1394" y="929"/>
                </a:lnTo>
                <a:lnTo>
                  <a:pt x="1393" y="929"/>
                </a:lnTo>
                <a:lnTo>
                  <a:pt x="1393" y="930"/>
                </a:lnTo>
                <a:lnTo>
                  <a:pt x="1393" y="932"/>
                </a:lnTo>
                <a:lnTo>
                  <a:pt x="1394" y="934"/>
                </a:lnTo>
                <a:lnTo>
                  <a:pt x="1395" y="936"/>
                </a:lnTo>
                <a:lnTo>
                  <a:pt x="1395" y="939"/>
                </a:lnTo>
                <a:lnTo>
                  <a:pt x="1395" y="940"/>
                </a:lnTo>
                <a:lnTo>
                  <a:pt x="1397" y="940"/>
                </a:lnTo>
                <a:lnTo>
                  <a:pt x="1398" y="940"/>
                </a:lnTo>
                <a:lnTo>
                  <a:pt x="1398" y="941"/>
                </a:lnTo>
                <a:lnTo>
                  <a:pt x="1398" y="941"/>
                </a:lnTo>
                <a:lnTo>
                  <a:pt x="1398" y="943"/>
                </a:lnTo>
                <a:lnTo>
                  <a:pt x="1400" y="945"/>
                </a:lnTo>
                <a:lnTo>
                  <a:pt x="1400" y="947"/>
                </a:lnTo>
                <a:lnTo>
                  <a:pt x="1401" y="948"/>
                </a:lnTo>
                <a:lnTo>
                  <a:pt x="1401" y="948"/>
                </a:lnTo>
                <a:lnTo>
                  <a:pt x="1402" y="948"/>
                </a:lnTo>
                <a:lnTo>
                  <a:pt x="1401" y="949"/>
                </a:lnTo>
                <a:lnTo>
                  <a:pt x="1401" y="949"/>
                </a:lnTo>
                <a:lnTo>
                  <a:pt x="1401" y="951"/>
                </a:lnTo>
                <a:lnTo>
                  <a:pt x="1401" y="951"/>
                </a:lnTo>
                <a:lnTo>
                  <a:pt x="1401" y="951"/>
                </a:lnTo>
                <a:lnTo>
                  <a:pt x="1401" y="952"/>
                </a:lnTo>
                <a:lnTo>
                  <a:pt x="1402" y="962"/>
                </a:lnTo>
                <a:lnTo>
                  <a:pt x="1404" y="964"/>
                </a:lnTo>
                <a:lnTo>
                  <a:pt x="1405" y="967"/>
                </a:lnTo>
                <a:lnTo>
                  <a:pt x="1406" y="967"/>
                </a:lnTo>
                <a:lnTo>
                  <a:pt x="1406" y="966"/>
                </a:lnTo>
                <a:lnTo>
                  <a:pt x="1406" y="960"/>
                </a:lnTo>
                <a:lnTo>
                  <a:pt x="1406" y="958"/>
                </a:lnTo>
                <a:lnTo>
                  <a:pt x="1406" y="955"/>
                </a:lnTo>
                <a:lnTo>
                  <a:pt x="1406" y="955"/>
                </a:lnTo>
                <a:lnTo>
                  <a:pt x="1408" y="955"/>
                </a:lnTo>
                <a:lnTo>
                  <a:pt x="1409" y="955"/>
                </a:lnTo>
                <a:lnTo>
                  <a:pt x="1410" y="956"/>
                </a:lnTo>
                <a:lnTo>
                  <a:pt x="1410" y="958"/>
                </a:lnTo>
                <a:lnTo>
                  <a:pt x="1410" y="958"/>
                </a:lnTo>
                <a:lnTo>
                  <a:pt x="1410" y="958"/>
                </a:lnTo>
                <a:lnTo>
                  <a:pt x="1410" y="958"/>
                </a:lnTo>
                <a:lnTo>
                  <a:pt x="1412" y="958"/>
                </a:lnTo>
                <a:lnTo>
                  <a:pt x="1412" y="958"/>
                </a:lnTo>
                <a:lnTo>
                  <a:pt x="1412" y="959"/>
                </a:lnTo>
                <a:lnTo>
                  <a:pt x="1412" y="959"/>
                </a:lnTo>
                <a:lnTo>
                  <a:pt x="1412" y="959"/>
                </a:lnTo>
                <a:lnTo>
                  <a:pt x="1412" y="959"/>
                </a:lnTo>
                <a:lnTo>
                  <a:pt x="1413" y="962"/>
                </a:lnTo>
                <a:lnTo>
                  <a:pt x="1413" y="962"/>
                </a:lnTo>
                <a:lnTo>
                  <a:pt x="1414" y="967"/>
                </a:lnTo>
                <a:lnTo>
                  <a:pt x="1414" y="968"/>
                </a:lnTo>
                <a:lnTo>
                  <a:pt x="1414" y="968"/>
                </a:lnTo>
                <a:lnTo>
                  <a:pt x="1416" y="968"/>
                </a:lnTo>
                <a:lnTo>
                  <a:pt x="1416" y="970"/>
                </a:lnTo>
                <a:lnTo>
                  <a:pt x="1416" y="971"/>
                </a:lnTo>
                <a:lnTo>
                  <a:pt x="1416" y="971"/>
                </a:lnTo>
                <a:lnTo>
                  <a:pt x="1417" y="973"/>
                </a:lnTo>
                <a:lnTo>
                  <a:pt x="1417" y="973"/>
                </a:lnTo>
                <a:lnTo>
                  <a:pt x="1419" y="973"/>
                </a:lnTo>
                <a:lnTo>
                  <a:pt x="1419" y="974"/>
                </a:lnTo>
                <a:lnTo>
                  <a:pt x="1420" y="974"/>
                </a:lnTo>
                <a:lnTo>
                  <a:pt x="1420" y="975"/>
                </a:lnTo>
                <a:lnTo>
                  <a:pt x="1420" y="975"/>
                </a:lnTo>
                <a:lnTo>
                  <a:pt x="1421" y="974"/>
                </a:lnTo>
                <a:lnTo>
                  <a:pt x="1421" y="974"/>
                </a:lnTo>
                <a:lnTo>
                  <a:pt x="1421" y="974"/>
                </a:lnTo>
                <a:lnTo>
                  <a:pt x="1421" y="973"/>
                </a:lnTo>
                <a:lnTo>
                  <a:pt x="1423" y="973"/>
                </a:lnTo>
                <a:lnTo>
                  <a:pt x="1423" y="973"/>
                </a:lnTo>
                <a:lnTo>
                  <a:pt x="1423" y="973"/>
                </a:lnTo>
                <a:lnTo>
                  <a:pt x="1424" y="973"/>
                </a:lnTo>
                <a:lnTo>
                  <a:pt x="1424" y="973"/>
                </a:lnTo>
                <a:lnTo>
                  <a:pt x="1425" y="973"/>
                </a:lnTo>
                <a:lnTo>
                  <a:pt x="1427" y="973"/>
                </a:lnTo>
                <a:lnTo>
                  <a:pt x="1427" y="971"/>
                </a:lnTo>
                <a:lnTo>
                  <a:pt x="1428" y="971"/>
                </a:lnTo>
                <a:lnTo>
                  <a:pt x="1428" y="970"/>
                </a:lnTo>
                <a:lnTo>
                  <a:pt x="1429" y="970"/>
                </a:lnTo>
                <a:lnTo>
                  <a:pt x="1429" y="968"/>
                </a:lnTo>
                <a:lnTo>
                  <a:pt x="1429" y="968"/>
                </a:lnTo>
                <a:lnTo>
                  <a:pt x="1429" y="968"/>
                </a:lnTo>
                <a:lnTo>
                  <a:pt x="1429" y="967"/>
                </a:lnTo>
                <a:lnTo>
                  <a:pt x="1431" y="967"/>
                </a:lnTo>
                <a:lnTo>
                  <a:pt x="1431" y="967"/>
                </a:lnTo>
                <a:lnTo>
                  <a:pt x="1431" y="967"/>
                </a:lnTo>
                <a:lnTo>
                  <a:pt x="1431" y="967"/>
                </a:lnTo>
                <a:lnTo>
                  <a:pt x="1432" y="966"/>
                </a:lnTo>
                <a:lnTo>
                  <a:pt x="1432" y="966"/>
                </a:lnTo>
                <a:lnTo>
                  <a:pt x="1432" y="964"/>
                </a:lnTo>
                <a:lnTo>
                  <a:pt x="1431" y="963"/>
                </a:lnTo>
                <a:lnTo>
                  <a:pt x="1431" y="959"/>
                </a:lnTo>
                <a:lnTo>
                  <a:pt x="1429" y="956"/>
                </a:lnTo>
                <a:lnTo>
                  <a:pt x="1429" y="954"/>
                </a:lnTo>
                <a:lnTo>
                  <a:pt x="1431" y="951"/>
                </a:lnTo>
                <a:lnTo>
                  <a:pt x="1432" y="948"/>
                </a:lnTo>
                <a:lnTo>
                  <a:pt x="1434" y="945"/>
                </a:lnTo>
                <a:lnTo>
                  <a:pt x="1435" y="945"/>
                </a:lnTo>
                <a:lnTo>
                  <a:pt x="1438" y="943"/>
                </a:lnTo>
                <a:lnTo>
                  <a:pt x="1439" y="943"/>
                </a:lnTo>
                <a:lnTo>
                  <a:pt x="1440" y="941"/>
                </a:lnTo>
                <a:lnTo>
                  <a:pt x="1442" y="940"/>
                </a:lnTo>
                <a:lnTo>
                  <a:pt x="1442" y="937"/>
                </a:lnTo>
                <a:lnTo>
                  <a:pt x="1440" y="929"/>
                </a:lnTo>
                <a:lnTo>
                  <a:pt x="1440" y="926"/>
                </a:lnTo>
                <a:lnTo>
                  <a:pt x="1440" y="925"/>
                </a:lnTo>
                <a:lnTo>
                  <a:pt x="1440" y="925"/>
                </a:lnTo>
                <a:lnTo>
                  <a:pt x="1442" y="925"/>
                </a:lnTo>
                <a:lnTo>
                  <a:pt x="1442" y="925"/>
                </a:lnTo>
                <a:lnTo>
                  <a:pt x="1443" y="926"/>
                </a:lnTo>
                <a:lnTo>
                  <a:pt x="1444" y="929"/>
                </a:lnTo>
                <a:lnTo>
                  <a:pt x="1446" y="930"/>
                </a:lnTo>
                <a:lnTo>
                  <a:pt x="1447" y="929"/>
                </a:lnTo>
                <a:lnTo>
                  <a:pt x="1448" y="929"/>
                </a:lnTo>
                <a:lnTo>
                  <a:pt x="1450" y="926"/>
                </a:lnTo>
                <a:lnTo>
                  <a:pt x="1451" y="925"/>
                </a:lnTo>
                <a:lnTo>
                  <a:pt x="1454" y="924"/>
                </a:lnTo>
                <a:lnTo>
                  <a:pt x="1455" y="926"/>
                </a:lnTo>
                <a:lnTo>
                  <a:pt x="1455" y="928"/>
                </a:lnTo>
                <a:lnTo>
                  <a:pt x="1457" y="929"/>
                </a:lnTo>
                <a:lnTo>
                  <a:pt x="1458" y="929"/>
                </a:lnTo>
                <a:lnTo>
                  <a:pt x="1458" y="925"/>
                </a:lnTo>
                <a:lnTo>
                  <a:pt x="1459" y="925"/>
                </a:lnTo>
                <a:lnTo>
                  <a:pt x="1461" y="926"/>
                </a:lnTo>
                <a:lnTo>
                  <a:pt x="1461" y="926"/>
                </a:lnTo>
                <a:lnTo>
                  <a:pt x="1461" y="928"/>
                </a:lnTo>
                <a:lnTo>
                  <a:pt x="1459" y="930"/>
                </a:lnTo>
                <a:lnTo>
                  <a:pt x="1461" y="932"/>
                </a:lnTo>
                <a:lnTo>
                  <a:pt x="1462" y="940"/>
                </a:lnTo>
                <a:lnTo>
                  <a:pt x="1463" y="943"/>
                </a:lnTo>
                <a:lnTo>
                  <a:pt x="1463" y="944"/>
                </a:lnTo>
                <a:lnTo>
                  <a:pt x="1463" y="944"/>
                </a:lnTo>
                <a:lnTo>
                  <a:pt x="1465" y="945"/>
                </a:lnTo>
                <a:lnTo>
                  <a:pt x="1465" y="945"/>
                </a:lnTo>
                <a:lnTo>
                  <a:pt x="1465" y="945"/>
                </a:lnTo>
                <a:lnTo>
                  <a:pt x="1465" y="947"/>
                </a:lnTo>
                <a:lnTo>
                  <a:pt x="1465" y="947"/>
                </a:lnTo>
                <a:lnTo>
                  <a:pt x="1465" y="948"/>
                </a:lnTo>
                <a:lnTo>
                  <a:pt x="1466" y="948"/>
                </a:lnTo>
                <a:lnTo>
                  <a:pt x="1466" y="948"/>
                </a:lnTo>
                <a:lnTo>
                  <a:pt x="1466" y="949"/>
                </a:lnTo>
                <a:lnTo>
                  <a:pt x="1466" y="951"/>
                </a:lnTo>
                <a:lnTo>
                  <a:pt x="1466" y="951"/>
                </a:lnTo>
                <a:lnTo>
                  <a:pt x="1466" y="952"/>
                </a:lnTo>
                <a:lnTo>
                  <a:pt x="1466" y="952"/>
                </a:lnTo>
                <a:lnTo>
                  <a:pt x="1466" y="954"/>
                </a:lnTo>
                <a:lnTo>
                  <a:pt x="1466" y="955"/>
                </a:lnTo>
                <a:lnTo>
                  <a:pt x="1465" y="956"/>
                </a:lnTo>
                <a:lnTo>
                  <a:pt x="1465" y="958"/>
                </a:lnTo>
                <a:lnTo>
                  <a:pt x="1465" y="960"/>
                </a:lnTo>
                <a:lnTo>
                  <a:pt x="1466" y="970"/>
                </a:lnTo>
                <a:lnTo>
                  <a:pt x="1466" y="974"/>
                </a:lnTo>
                <a:lnTo>
                  <a:pt x="1466" y="977"/>
                </a:lnTo>
                <a:lnTo>
                  <a:pt x="1468" y="978"/>
                </a:lnTo>
                <a:lnTo>
                  <a:pt x="1470" y="979"/>
                </a:lnTo>
                <a:lnTo>
                  <a:pt x="1470" y="979"/>
                </a:lnTo>
                <a:lnTo>
                  <a:pt x="1472" y="985"/>
                </a:lnTo>
                <a:lnTo>
                  <a:pt x="1472" y="988"/>
                </a:lnTo>
                <a:lnTo>
                  <a:pt x="1473" y="988"/>
                </a:lnTo>
                <a:lnTo>
                  <a:pt x="1474" y="989"/>
                </a:lnTo>
                <a:lnTo>
                  <a:pt x="1474" y="990"/>
                </a:lnTo>
                <a:lnTo>
                  <a:pt x="1474" y="992"/>
                </a:lnTo>
                <a:lnTo>
                  <a:pt x="1476" y="996"/>
                </a:lnTo>
                <a:lnTo>
                  <a:pt x="1476" y="1000"/>
                </a:lnTo>
                <a:lnTo>
                  <a:pt x="1476" y="1001"/>
                </a:lnTo>
                <a:lnTo>
                  <a:pt x="1476" y="1002"/>
                </a:lnTo>
                <a:lnTo>
                  <a:pt x="1476" y="1004"/>
                </a:lnTo>
                <a:lnTo>
                  <a:pt x="1480" y="1026"/>
                </a:lnTo>
                <a:lnTo>
                  <a:pt x="1480" y="1027"/>
                </a:lnTo>
                <a:lnTo>
                  <a:pt x="1478" y="1027"/>
                </a:lnTo>
                <a:lnTo>
                  <a:pt x="1478" y="1027"/>
                </a:lnTo>
                <a:lnTo>
                  <a:pt x="1477" y="1028"/>
                </a:lnTo>
                <a:lnTo>
                  <a:pt x="1478" y="1032"/>
                </a:lnTo>
                <a:lnTo>
                  <a:pt x="1480" y="1036"/>
                </a:lnTo>
                <a:lnTo>
                  <a:pt x="1480" y="1036"/>
                </a:lnTo>
                <a:lnTo>
                  <a:pt x="1480" y="1038"/>
                </a:lnTo>
                <a:lnTo>
                  <a:pt x="1480" y="1038"/>
                </a:lnTo>
                <a:lnTo>
                  <a:pt x="1481" y="1036"/>
                </a:lnTo>
                <a:lnTo>
                  <a:pt x="1481" y="1036"/>
                </a:lnTo>
                <a:lnTo>
                  <a:pt x="1481" y="1036"/>
                </a:lnTo>
                <a:lnTo>
                  <a:pt x="1482" y="1035"/>
                </a:lnTo>
                <a:lnTo>
                  <a:pt x="1482" y="1035"/>
                </a:lnTo>
                <a:lnTo>
                  <a:pt x="1484" y="1035"/>
                </a:lnTo>
                <a:lnTo>
                  <a:pt x="1484" y="1035"/>
                </a:lnTo>
                <a:lnTo>
                  <a:pt x="1485" y="1034"/>
                </a:lnTo>
                <a:lnTo>
                  <a:pt x="1485" y="1032"/>
                </a:lnTo>
                <a:lnTo>
                  <a:pt x="1485" y="1032"/>
                </a:lnTo>
                <a:lnTo>
                  <a:pt x="1485" y="1031"/>
                </a:lnTo>
                <a:lnTo>
                  <a:pt x="1485" y="1030"/>
                </a:lnTo>
                <a:lnTo>
                  <a:pt x="1485" y="1030"/>
                </a:lnTo>
                <a:lnTo>
                  <a:pt x="1485" y="1030"/>
                </a:lnTo>
                <a:lnTo>
                  <a:pt x="1485" y="1030"/>
                </a:lnTo>
                <a:lnTo>
                  <a:pt x="1485" y="1030"/>
                </a:lnTo>
                <a:lnTo>
                  <a:pt x="1485" y="1027"/>
                </a:lnTo>
                <a:lnTo>
                  <a:pt x="1485" y="1027"/>
                </a:lnTo>
                <a:lnTo>
                  <a:pt x="1487" y="1026"/>
                </a:lnTo>
                <a:lnTo>
                  <a:pt x="1488" y="1027"/>
                </a:lnTo>
                <a:lnTo>
                  <a:pt x="1492" y="1030"/>
                </a:lnTo>
                <a:lnTo>
                  <a:pt x="1496" y="1032"/>
                </a:lnTo>
                <a:lnTo>
                  <a:pt x="1496" y="1035"/>
                </a:lnTo>
                <a:lnTo>
                  <a:pt x="1497" y="1036"/>
                </a:lnTo>
                <a:lnTo>
                  <a:pt x="1497" y="1038"/>
                </a:lnTo>
                <a:lnTo>
                  <a:pt x="1497" y="1039"/>
                </a:lnTo>
                <a:lnTo>
                  <a:pt x="1499" y="1038"/>
                </a:lnTo>
                <a:lnTo>
                  <a:pt x="1499" y="1036"/>
                </a:lnTo>
                <a:lnTo>
                  <a:pt x="1500" y="1035"/>
                </a:lnTo>
                <a:lnTo>
                  <a:pt x="1500" y="1035"/>
                </a:lnTo>
                <a:lnTo>
                  <a:pt x="1502" y="1035"/>
                </a:lnTo>
                <a:lnTo>
                  <a:pt x="1503" y="1036"/>
                </a:lnTo>
                <a:lnTo>
                  <a:pt x="1503" y="1036"/>
                </a:lnTo>
                <a:lnTo>
                  <a:pt x="1503" y="1036"/>
                </a:lnTo>
                <a:lnTo>
                  <a:pt x="1503" y="1036"/>
                </a:lnTo>
                <a:lnTo>
                  <a:pt x="1504" y="1036"/>
                </a:lnTo>
                <a:lnTo>
                  <a:pt x="1504" y="1036"/>
                </a:lnTo>
                <a:lnTo>
                  <a:pt x="1504" y="1036"/>
                </a:lnTo>
                <a:lnTo>
                  <a:pt x="1504" y="1036"/>
                </a:lnTo>
                <a:lnTo>
                  <a:pt x="1504" y="1035"/>
                </a:lnTo>
                <a:lnTo>
                  <a:pt x="1504" y="1035"/>
                </a:lnTo>
                <a:lnTo>
                  <a:pt x="1504" y="1035"/>
                </a:lnTo>
                <a:lnTo>
                  <a:pt x="1503" y="1034"/>
                </a:lnTo>
                <a:lnTo>
                  <a:pt x="1503" y="1032"/>
                </a:lnTo>
                <a:lnTo>
                  <a:pt x="1503" y="1032"/>
                </a:lnTo>
                <a:lnTo>
                  <a:pt x="1504" y="1030"/>
                </a:lnTo>
                <a:lnTo>
                  <a:pt x="1506" y="1030"/>
                </a:lnTo>
                <a:lnTo>
                  <a:pt x="1506" y="1030"/>
                </a:lnTo>
                <a:lnTo>
                  <a:pt x="1507" y="1028"/>
                </a:lnTo>
                <a:lnTo>
                  <a:pt x="1507" y="1028"/>
                </a:lnTo>
                <a:lnTo>
                  <a:pt x="1507" y="1024"/>
                </a:lnTo>
                <a:lnTo>
                  <a:pt x="1507" y="1023"/>
                </a:lnTo>
                <a:lnTo>
                  <a:pt x="1507" y="1023"/>
                </a:lnTo>
                <a:lnTo>
                  <a:pt x="1507" y="1023"/>
                </a:lnTo>
                <a:lnTo>
                  <a:pt x="1508" y="1023"/>
                </a:lnTo>
                <a:lnTo>
                  <a:pt x="1510" y="1023"/>
                </a:lnTo>
                <a:lnTo>
                  <a:pt x="1511" y="1023"/>
                </a:lnTo>
                <a:lnTo>
                  <a:pt x="1511" y="1024"/>
                </a:lnTo>
                <a:lnTo>
                  <a:pt x="1512" y="1024"/>
                </a:lnTo>
                <a:lnTo>
                  <a:pt x="1514" y="1024"/>
                </a:lnTo>
                <a:lnTo>
                  <a:pt x="1512" y="1021"/>
                </a:lnTo>
                <a:lnTo>
                  <a:pt x="1512" y="1021"/>
                </a:lnTo>
                <a:lnTo>
                  <a:pt x="1512" y="1021"/>
                </a:lnTo>
                <a:lnTo>
                  <a:pt x="1514" y="1021"/>
                </a:lnTo>
                <a:lnTo>
                  <a:pt x="1515" y="1020"/>
                </a:lnTo>
                <a:lnTo>
                  <a:pt x="1515" y="1020"/>
                </a:lnTo>
                <a:lnTo>
                  <a:pt x="1515" y="1020"/>
                </a:lnTo>
                <a:lnTo>
                  <a:pt x="1516" y="1019"/>
                </a:lnTo>
                <a:lnTo>
                  <a:pt x="1516" y="1019"/>
                </a:lnTo>
                <a:lnTo>
                  <a:pt x="1515" y="1011"/>
                </a:lnTo>
                <a:lnTo>
                  <a:pt x="1515" y="1008"/>
                </a:lnTo>
                <a:lnTo>
                  <a:pt x="1512" y="1007"/>
                </a:lnTo>
                <a:lnTo>
                  <a:pt x="1512" y="1005"/>
                </a:lnTo>
                <a:lnTo>
                  <a:pt x="1511" y="1002"/>
                </a:lnTo>
                <a:lnTo>
                  <a:pt x="1511" y="1001"/>
                </a:lnTo>
                <a:lnTo>
                  <a:pt x="1512" y="998"/>
                </a:lnTo>
                <a:lnTo>
                  <a:pt x="1512" y="997"/>
                </a:lnTo>
                <a:lnTo>
                  <a:pt x="1511" y="996"/>
                </a:lnTo>
                <a:lnTo>
                  <a:pt x="1510" y="994"/>
                </a:lnTo>
                <a:lnTo>
                  <a:pt x="1510" y="993"/>
                </a:lnTo>
                <a:lnTo>
                  <a:pt x="1510" y="992"/>
                </a:lnTo>
                <a:lnTo>
                  <a:pt x="1510" y="986"/>
                </a:lnTo>
                <a:lnTo>
                  <a:pt x="1512" y="985"/>
                </a:lnTo>
                <a:lnTo>
                  <a:pt x="1512" y="985"/>
                </a:lnTo>
                <a:lnTo>
                  <a:pt x="1512" y="983"/>
                </a:lnTo>
                <a:lnTo>
                  <a:pt x="1515" y="981"/>
                </a:lnTo>
                <a:lnTo>
                  <a:pt x="1516" y="979"/>
                </a:lnTo>
                <a:lnTo>
                  <a:pt x="1516" y="978"/>
                </a:lnTo>
                <a:lnTo>
                  <a:pt x="1515" y="977"/>
                </a:lnTo>
                <a:lnTo>
                  <a:pt x="1515" y="974"/>
                </a:lnTo>
                <a:lnTo>
                  <a:pt x="1514" y="973"/>
                </a:lnTo>
                <a:lnTo>
                  <a:pt x="1514" y="971"/>
                </a:lnTo>
                <a:lnTo>
                  <a:pt x="1514" y="970"/>
                </a:lnTo>
                <a:lnTo>
                  <a:pt x="1515" y="968"/>
                </a:lnTo>
                <a:lnTo>
                  <a:pt x="1516" y="967"/>
                </a:lnTo>
                <a:lnTo>
                  <a:pt x="1518" y="968"/>
                </a:lnTo>
                <a:lnTo>
                  <a:pt x="1518" y="968"/>
                </a:lnTo>
                <a:lnTo>
                  <a:pt x="1519" y="970"/>
                </a:lnTo>
                <a:lnTo>
                  <a:pt x="1521" y="971"/>
                </a:lnTo>
                <a:lnTo>
                  <a:pt x="1522" y="971"/>
                </a:lnTo>
                <a:lnTo>
                  <a:pt x="1523" y="970"/>
                </a:lnTo>
                <a:lnTo>
                  <a:pt x="1525" y="970"/>
                </a:lnTo>
                <a:lnTo>
                  <a:pt x="1526" y="968"/>
                </a:lnTo>
                <a:lnTo>
                  <a:pt x="1529" y="963"/>
                </a:lnTo>
                <a:lnTo>
                  <a:pt x="1529" y="962"/>
                </a:lnTo>
                <a:lnTo>
                  <a:pt x="1527" y="962"/>
                </a:lnTo>
                <a:lnTo>
                  <a:pt x="1527" y="960"/>
                </a:lnTo>
                <a:lnTo>
                  <a:pt x="1529" y="956"/>
                </a:lnTo>
                <a:lnTo>
                  <a:pt x="1529" y="954"/>
                </a:lnTo>
                <a:lnTo>
                  <a:pt x="1529" y="952"/>
                </a:lnTo>
                <a:lnTo>
                  <a:pt x="1529" y="951"/>
                </a:lnTo>
                <a:lnTo>
                  <a:pt x="1530" y="949"/>
                </a:lnTo>
                <a:lnTo>
                  <a:pt x="1530" y="949"/>
                </a:lnTo>
                <a:lnTo>
                  <a:pt x="1530" y="948"/>
                </a:lnTo>
                <a:lnTo>
                  <a:pt x="1530" y="948"/>
                </a:lnTo>
                <a:lnTo>
                  <a:pt x="1530" y="944"/>
                </a:lnTo>
                <a:lnTo>
                  <a:pt x="1530" y="943"/>
                </a:lnTo>
                <a:lnTo>
                  <a:pt x="1531" y="929"/>
                </a:lnTo>
                <a:lnTo>
                  <a:pt x="1531" y="928"/>
                </a:lnTo>
                <a:lnTo>
                  <a:pt x="1531" y="926"/>
                </a:lnTo>
                <a:lnTo>
                  <a:pt x="1530" y="925"/>
                </a:lnTo>
                <a:lnTo>
                  <a:pt x="1530" y="925"/>
                </a:lnTo>
                <a:lnTo>
                  <a:pt x="1529" y="924"/>
                </a:lnTo>
                <a:lnTo>
                  <a:pt x="1527" y="915"/>
                </a:lnTo>
                <a:lnTo>
                  <a:pt x="1527" y="914"/>
                </a:lnTo>
                <a:lnTo>
                  <a:pt x="1527" y="913"/>
                </a:lnTo>
                <a:lnTo>
                  <a:pt x="1527" y="913"/>
                </a:lnTo>
                <a:lnTo>
                  <a:pt x="1526" y="911"/>
                </a:lnTo>
                <a:lnTo>
                  <a:pt x="1526" y="911"/>
                </a:lnTo>
                <a:lnTo>
                  <a:pt x="1525" y="909"/>
                </a:lnTo>
                <a:lnTo>
                  <a:pt x="1525" y="909"/>
                </a:lnTo>
                <a:lnTo>
                  <a:pt x="1523" y="907"/>
                </a:lnTo>
                <a:lnTo>
                  <a:pt x="1523" y="906"/>
                </a:lnTo>
                <a:lnTo>
                  <a:pt x="1523" y="905"/>
                </a:lnTo>
                <a:lnTo>
                  <a:pt x="1523" y="903"/>
                </a:lnTo>
                <a:lnTo>
                  <a:pt x="1525" y="902"/>
                </a:lnTo>
                <a:lnTo>
                  <a:pt x="1525" y="902"/>
                </a:lnTo>
                <a:lnTo>
                  <a:pt x="1526" y="900"/>
                </a:lnTo>
                <a:lnTo>
                  <a:pt x="1527" y="902"/>
                </a:lnTo>
                <a:lnTo>
                  <a:pt x="1529" y="905"/>
                </a:lnTo>
                <a:lnTo>
                  <a:pt x="1530" y="905"/>
                </a:lnTo>
                <a:lnTo>
                  <a:pt x="1531" y="907"/>
                </a:lnTo>
                <a:lnTo>
                  <a:pt x="1533" y="907"/>
                </a:lnTo>
                <a:lnTo>
                  <a:pt x="1533" y="909"/>
                </a:lnTo>
                <a:lnTo>
                  <a:pt x="1533" y="909"/>
                </a:lnTo>
                <a:lnTo>
                  <a:pt x="1534" y="910"/>
                </a:lnTo>
                <a:lnTo>
                  <a:pt x="1536" y="909"/>
                </a:lnTo>
                <a:lnTo>
                  <a:pt x="1537" y="909"/>
                </a:lnTo>
                <a:lnTo>
                  <a:pt x="1538" y="907"/>
                </a:lnTo>
                <a:lnTo>
                  <a:pt x="1538" y="909"/>
                </a:lnTo>
                <a:lnTo>
                  <a:pt x="1540" y="909"/>
                </a:lnTo>
                <a:lnTo>
                  <a:pt x="1540" y="909"/>
                </a:lnTo>
                <a:lnTo>
                  <a:pt x="1540" y="909"/>
                </a:lnTo>
                <a:lnTo>
                  <a:pt x="1541" y="909"/>
                </a:lnTo>
                <a:lnTo>
                  <a:pt x="1541" y="907"/>
                </a:lnTo>
                <a:lnTo>
                  <a:pt x="1541" y="907"/>
                </a:lnTo>
                <a:lnTo>
                  <a:pt x="1541" y="907"/>
                </a:lnTo>
                <a:lnTo>
                  <a:pt x="1542" y="906"/>
                </a:lnTo>
                <a:lnTo>
                  <a:pt x="1545" y="906"/>
                </a:lnTo>
                <a:lnTo>
                  <a:pt x="1548" y="906"/>
                </a:lnTo>
                <a:lnTo>
                  <a:pt x="1551" y="907"/>
                </a:lnTo>
                <a:lnTo>
                  <a:pt x="1553" y="910"/>
                </a:lnTo>
                <a:lnTo>
                  <a:pt x="1555" y="911"/>
                </a:lnTo>
                <a:lnTo>
                  <a:pt x="1559" y="910"/>
                </a:lnTo>
                <a:lnTo>
                  <a:pt x="1560" y="910"/>
                </a:lnTo>
                <a:lnTo>
                  <a:pt x="1563" y="911"/>
                </a:lnTo>
                <a:lnTo>
                  <a:pt x="1564" y="911"/>
                </a:lnTo>
                <a:lnTo>
                  <a:pt x="1565" y="911"/>
                </a:lnTo>
                <a:lnTo>
                  <a:pt x="1570" y="914"/>
                </a:lnTo>
                <a:lnTo>
                  <a:pt x="1571" y="914"/>
                </a:lnTo>
                <a:lnTo>
                  <a:pt x="1571" y="915"/>
                </a:lnTo>
                <a:lnTo>
                  <a:pt x="1572" y="917"/>
                </a:lnTo>
                <a:lnTo>
                  <a:pt x="1574" y="917"/>
                </a:lnTo>
                <a:lnTo>
                  <a:pt x="1574" y="915"/>
                </a:lnTo>
                <a:lnTo>
                  <a:pt x="1574" y="915"/>
                </a:lnTo>
                <a:lnTo>
                  <a:pt x="1574" y="914"/>
                </a:lnTo>
                <a:lnTo>
                  <a:pt x="1574" y="913"/>
                </a:lnTo>
                <a:lnTo>
                  <a:pt x="1574" y="911"/>
                </a:lnTo>
                <a:lnTo>
                  <a:pt x="1575" y="910"/>
                </a:lnTo>
                <a:lnTo>
                  <a:pt x="1578" y="907"/>
                </a:lnTo>
                <a:lnTo>
                  <a:pt x="1578" y="906"/>
                </a:lnTo>
                <a:lnTo>
                  <a:pt x="1578" y="903"/>
                </a:lnTo>
                <a:lnTo>
                  <a:pt x="1578" y="903"/>
                </a:lnTo>
                <a:lnTo>
                  <a:pt x="1579" y="902"/>
                </a:lnTo>
                <a:lnTo>
                  <a:pt x="1579" y="900"/>
                </a:lnTo>
                <a:lnTo>
                  <a:pt x="1579" y="899"/>
                </a:lnTo>
                <a:lnTo>
                  <a:pt x="1580" y="896"/>
                </a:lnTo>
                <a:lnTo>
                  <a:pt x="1583" y="890"/>
                </a:lnTo>
                <a:lnTo>
                  <a:pt x="1583" y="888"/>
                </a:lnTo>
                <a:lnTo>
                  <a:pt x="1583" y="886"/>
                </a:lnTo>
                <a:lnTo>
                  <a:pt x="1585" y="884"/>
                </a:lnTo>
                <a:lnTo>
                  <a:pt x="1585" y="884"/>
                </a:lnTo>
                <a:lnTo>
                  <a:pt x="1586" y="883"/>
                </a:lnTo>
                <a:lnTo>
                  <a:pt x="1586" y="883"/>
                </a:lnTo>
                <a:lnTo>
                  <a:pt x="1586" y="883"/>
                </a:lnTo>
                <a:lnTo>
                  <a:pt x="1586" y="881"/>
                </a:lnTo>
                <a:lnTo>
                  <a:pt x="1586" y="881"/>
                </a:lnTo>
                <a:lnTo>
                  <a:pt x="1586" y="880"/>
                </a:lnTo>
                <a:lnTo>
                  <a:pt x="1587" y="880"/>
                </a:lnTo>
                <a:lnTo>
                  <a:pt x="1587" y="879"/>
                </a:lnTo>
                <a:lnTo>
                  <a:pt x="1589" y="876"/>
                </a:lnTo>
                <a:lnTo>
                  <a:pt x="1589" y="876"/>
                </a:lnTo>
                <a:lnTo>
                  <a:pt x="1589" y="875"/>
                </a:lnTo>
                <a:lnTo>
                  <a:pt x="1590" y="875"/>
                </a:lnTo>
                <a:lnTo>
                  <a:pt x="1591" y="871"/>
                </a:lnTo>
                <a:lnTo>
                  <a:pt x="1591" y="871"/>
                </a:lnTo>
                <a:lnTo>
                  <a:pt x="1593" y="869"/>
                </a:lnTo>
                <a:lnTo>
                  <a:pt x="1595" y="868"/>
                </a:lnTo>
                <a:lnTo>
                  <a:pt x="1595" y="866"/>
                </a:lnTo>
                <a:lnTo>
                  <a:pt x="1597" y="861"/>
                </a:lnTo>
                <a:lnTo>
                  <a:pt x="1597" y="861"/>
                </a:lnTo>
                <a:lnTo>
                  <a:pt x="1598" y="860"/>
                </a:lnTo>
                <a:lnTo>
                  <a:pt x="1599" y="860"/>
                </a:lnTo>
                <a:lnTo>
                  <a:pt x="1599" y="860"/>
                </a:lnTo>
                <a:lnTo>
                  <a:pt x="1601" y="860"/>
                </a:lnTo>
                <a:lnTo>
                  <a:pt x="1601" y="858"/>
                </a:lnTo>
                <a:lnTo>
                  <a:pt x="1602" y="858"/>
                </a:lnTo>
                <a:lnTo>
                  <a:pt x="1602" y="857"/>
                </a:lnTo>
                <a:lnTo>
                  <a:pt x="1602" y="856"/>
                </a:lnTo>
                <a:lnTo>
                  <a:pt x="1602" y="853"/>
                </a:lnTo>
                <a:lnTo>
                  <a:pt x="1605" y="850"/>
                </a:lnTo>
                <a:lnTo>
                  <a:pt x="1606" y="849"/>
                </a:lnTo>
                <a:lnTo>
                  <a:pt x="1606" y="843"/>
                </a:lnTo>
                <a:lnTo>
                  <a:pt x="1608" y="842"/>
                </a:lnTo>
                <a:lnTo>
                  <a:pt x="1609" y="839"/>
                </a:lnTo>
                <a:lnTo>
                  <a:pt x="1609" y="837"/>
                </a:lnTo>
                <a:lnTo>
                  <a:pt x="1609" y="834"/>
                </a:lnTo>
                <a:lnTo>
                  <a:pt x="1608" y="832"/>
                </a:lnTo>
                <a:lnTo>
                  <a:pt x="1605" y="831"/>
                </a:lnTo>
                <a:lnTo>
                  <a:pt x="1604" y="831"/>
                </a:lnTo>
                <a:lnTo>
                  <a:pt x="1601" y="830"/>
                </a:lnTo>
                <a:lnTo>
                  <a:pt x="1599" y="827"/>
                </a:lnTo>
                <a:lnTo>
                  <a:pt x="1599" y="824"/>
                </a:lnTo>
                <a:lnTo>
                  <a:pt x="1602" y="815"/>
                </a:lnTo>
                <a:lnTo>
                  <a:pt x="1604" y="813"/>
                </a:lnTo>
                <a:lnTo>
                  <a:pt x="1605" y="812"/>
                </a:lnTo>
                <a:lnTo>
                  <a:pt x="1606" y="811"/>
                </a:lnTo>
                <a:lnTo>
                  <a:pt x="1608" y="809"/>
                </a:lnTo>
                <a:lnTo>
                  <a:pt x="1609" y="809"/>
                </a:lnTo>
                <a:lnTo>
                  <a:pt x="1612" y="809"/>
                </a:lnTo>
                <a:lnTo>
                  <a:pt x="1612" y="808"/>
                </a:lnTo>
                <a:lnTo>
                  <a:pt x="1613" y="808"/>
                </a:lnTo>
                <a:lnTo>
                  <a:pt x="1614" y="805"/>
                </a:lnTo>
                <a:lnTo>
                  <a:pt x="1616" y="804"/>
                </a:lnTo>
                <a:lnTo>
                  <a:pt x="1616" y="804"/>
                </a:lnTo>
                <a:lnTo>
                  <a:pt x="1617" y="804"/>
                </a:lnTo>
                <a:lnTo>
                  <a:pt x="1619" y="804"/>
                </a:lnTo>
                <a:lnTo>
                  <a:pt x="1619" y="804"/>
                </a:lnTo>
                <a:lnTo>
                  <a:pt x="1617" y="803"/>
                </a:lnTo>
                <a:lnTo>
                  <a:pt x="1617" y="803"/>
                </a:lnTo>
                <a:lnTo>
                  <a:pt x="1619" y="803"/>
                </a:lnTo>
                <a:lnTo>
                  <a:pt x="1619" y="801"/>
                </a:lnTo>
                <a:lnTo>
                  <a:pt x="1619" y="801"/>
                </a:lnTo>
                <a:lnTo>
                  <a:pt x="1624" y="794"/>
                </a:lnTo>
                <a:lnTo>
                  <a:pt x="1624" y="793"/>
                </a:lnTo>
                <a:lnTo>
                  <a:pt x="1625" y="793"/>
                </a:lnTo>
                <a:lnTo>
                  <a:pt x="1627" y="793"/>
                </a:lnTo>
                <a:lnTo>
                  <a:pt x="1627" y="793"/>
                </a:lnTo>
                <a:lnTo>
                  <a:pt x="1628" y="792"/>
                </a:lnTo>
                <a:lnTo>
                  <a:pt x="1627" y="790"/>
                </a:lnTo>
                <a:lnTo>
                  <a:pt x="1627" y="784"/>
                </a:lnTo>
                <a:lnTo>
                  <a:pt x="1627" y="782"/>
                </a:lnTo>
                <a:lnTo>
                  <a:pt x="1627" y="781"/>
                </a:lnTo>
                <a:lnTo>
                  <a:pt x="1627" y="779"/>
                </a:lnTo>
                <a:lnTo>
                  <a:pt x="1629" y="779"/>
                </a:lnTo>
                <a:lnTo>
                  <a:pt x="1631" y="778"/>
                </a:lnTo>
                <a:lnTo>
                  <a:pt x="1633" y="775"/>
                </a:lnTo>
                <a:lnTo>
                  <a:pt x="1635" y="773"/>
                </a:lnTo>
                <a:lnTo>
                  <a:pt x="1636" y="771"/>
                </a:lnTo>
                <a:lnTo>
                  <a:pt x="1636" y="770"/>
                </a:lnTo>
                <a:lnTo>
                  <a:pt x="1635" y="770"/>
                </a:lnTo>
                <a:lnTo>
                  <a:pt x="1632" y="769"/>
                </a:lnTo>
                <a:lnTo>
                  <a:pt x="1632" y="769"/>
                </a:lnTo>
                <a:lnTo>
                  <a:pt x="1631" y="763"/>
                </a:lnTo>
                <a:lnTo>
                  <a:pt x="1632" y="763"/>
                </a:lnTo>
                <a:lnTo>
                  <a:pt x="1632" y="763"/>
                </a:lnTo>
                <a:lnTo>
                  <a:pt x="1632" y="762"/>
                </a:lnTo>
                <a:lnTo>
                  <a:pt x="1632" y="762"/>
                </a:lnTo>
                <a:lnTo>
                  <a:pt x="1632" y="762"/>
                </a:lnTo>
                <a:lnTo>
                  <a:pt x="1631" y="762"/>
                </a:lnTo>
                <a:lnTo>
                  <a:pt x="1631" y="760"/>
                </a:lnTo>
                <a:lnTo>
                  <a:pt x="1629" y="760"/>
                </a:lnTo>
                <a:lnTo>
                  <a:pt x="1629" y="759"/>
                </a:lnTo>
                <a:lnTo>
                  <a:pt x="1629" y="756"/>
                </a:lnTo>
                <a:lnTo>
                  <a:pt x="1629" y="754"/>
                </a:lnTo>
                <a:lnTo>
                  <a:pt x="1629" y="751"/>
                </a:lnTo>
                <a:lnTo>
                  <a:pt x="1631" y="750"/>
                </a:lnTo>
                <a:lnTo>
                  <a:pt x="1631" y="748"/>
                </a:lnTo>
                <a:lnTo>
                  <a:pt x="1631" y="747"/>
                </a:lnTo>
                <a:lnTo>
                  <a:pt x="1629" y="744"/>
                </a:lnTo>
                <a:lnTo>
                  <a:pt x="1629" y="744"/>
                </a:lnTo>
                <a:lnTo>
                  <a:pt x="1629" y="743"/>
                </a:lnTo>
                <a:lnTo>
                  <a:pt x="1629" y="743"/>
                </a:lnTo>
                <a:lnTo>
                  <a:pt x="1631" y="741"/>
                </a:lnTo>
                <a:lnTo>
                  <a:pt x="1632" y="740"/>
                </a:lnTo>
                <a:lnTo>
                  <a:pt x="1633" y="739"/>
                </a:lnTo>
                <a:lnTo>
                  <a:pt x="1633" y="737"/>
                </a:lnTo>
                <a:lnTo>
                  <a:pt x="1633" y="737"/>
                </a:lnTo>
                <a:lnTo>
                  <a:pt x="1633" y="737"/>
                </a:lnTo>
                <a:lnTo>
                  <a:pt x="1633" y="735"/>
                </a:lnTo>
                <a:lnTo>
                  <a:pt x="1633" y="735"/>
                </a:lnTo>
                <a:lnTo>
                  <a:pt x="1635" y="733"/>
                </a:lnTo>
                <a:lnTo>
                  <a:pt x="1635" y="733"/>
                </a:lnTo>
                <a:lnTo>
                  <a:pt x="1636" y="733"/>
                </a:lnTo>
                <a:lnTo>
                  <a:pt x="1638" y="733"/>
                </a:lnTo>
                <a:lnTo>
                  <a:pt x="1638" y="732"/>
                </a:lnTo>
                <a:lnTo>
                  <a:pt x="1639" y="730"/>
                </a:lnTo>
                <a:lnTo>
                  <a:pt x="1639" y="730"/>
                </a:lnTo>
                <a:lnTo>
                  <a:pt x="1640" y="730"/>
                </a:lnTo>
                <a:lnTo>
                  <a:pt x="1642" y="732"/>
                </a:lnTo>
                <a:lnTo>
                  <a:pt x="1642" y="732"/>
                </a:lnTo>
                <a:lnTo>
                  <a:pt x="1642" y="732"/>
                </a:lnTo>
                <a:lnTo>
                  <a:pt x="1643" y="732"/>
                </a:lnTo>
                <a:lnTo>
                  <a:pt x="1646" y="730"/>
                </a:lnTo>
                <a:lnTo>
                  <a:pt x="1650" y="729"/>
                </a:lnTo>
                <a:lnTo>
                  <a:pt x="1651" y="728"/>
                </a:lnTo>
                <a:lnTo>
                  <a:pt x="1653" y="726"/>
                </a:lnTo>
                <a:lnTo>
                  <a:pt x="1654" y="724"/>
                </a:lnTo>
                <a:lnTo>
                  <a:pt x="1657" y="721"/>
                </a:lnTo>
                <a:lnTo>
                  <a:pt x="1659" y="721"/>
                </a:lnTo>
                <a:lnTo>
                  <a:pt x="1661" y="721"/>
                </a:lnTo>
                <a:lnTo>
                  <a:pt x="1661" y="721"/>
                </a:lnTo>
                <a:lnTo>
                  <a:pt x="1662" y="720"/>
                </a:lnTo>
                <a:lnTo>
                  <a:pt x="1663" y="718"/>
                </a:lnTo>
                <a:lnTo>
                  <a:pt x="1663" y="717"/>
                </a:lnTo>
                <a:lnTo>
                  <a:pt x="1665" y="717"/>
                </a:lnTo>
                <a:lnTo>
                  <a:pt x="1665" y="716"/>
                </a:lnTo>
                <a:lnTo>
                  <a:pt x="1667" y="716"/>
                </a:lnTo>
                <a:lnTo>
                  <a:pt x="1669" y="716"/>
                </a:lnTo>
                <a:lnTo>
                  <a:pt x="1669" y="714"/>
                </a:lnTo>
                <a:lnTo>
                  <a:pt x="1672" y="711"/>
                </a:lnTo>
                <a:lnTo>
                  <a:pt x="1674" y="709"/>
                </a:lnTo>
                <a:lnTo>
                  <a:pt x="1676" y="709"/>
                </a:lnTo>
                <a:lnTo>
                  <a:pt x="1678" y="707"/>
                </a:lnTo>
                <a:lnTo>
                  <a:pt x="1680" y="706"/>
                </a:lnTo>
                <a:lnTo>
                  <a:pt x="1682" y="705"/>
                </a:lnTo>
                <a:lnTo>
                  <a:pt x="1684" y="703"/>
                </a:lnTo>
                <a:lnTo>
                  <a:pt x="1685" y="699"/>
                </a:lnTo>
                <a:lnTo>
                  <a:pt x="1688" y="695"/>
                </a:lnTo>
                <a:lnTo>
                  <a:pt x="1692" y="692"/>
                </a:lnTo>
                <a:lnTo>
                  <a:pt x="1696" y="691"/>
                </a:lnTo>
                <a:lnTo>
                  <a:pt x="1712" y="688"/>
                </a:lnTo>
                <a:lnTo>
                  <a:pt x="1716" y="688"/>
                </a:lnTo>
                <a:lnTo>
                  <a:pt x="1716" y="690"/>
                </a:lnTo>
                <a:lnTo>
                  <a:pt x="1718" y="688"/>
                </a:lnTo>
                <a:lnTo>
                  <a:pt x="1719" y="688"/>
                </a:lnTo>
                <a:lnTo>
                  <a:pt x="1721" y="688"/>
                </a:lnTo>
                <a:lnTo>
                  <a:pt x="1722" y="687"/>
                </a:lnTo>
                <a:lnTo>
                  <a:pt x="1722" y="686"/>
                </a:lnTo>
                <a:lnTo>
                  <a:pt x="1723" y="684"/>
                </a:lnTo>
                <a:lnTo>
                  <a:pt x="1725" y="686"/>
                </a:lnTo>
                <a:lnTo>
                  <a:pt x="1725" y="686"/>
                </a:lnTo>
                <a:lnTo>
                  <a:pt x="1725" y="686"/>
                </a:lnTo>
                <a:lnTo>
                  <a:pt x="1726" y="686"/>
                </a:lnTo>
                <a:lnTo>
                  <a:pt x="1726" y="686"/>
                </a:lnTo>
                <a:lnTo>
                  <a:pt x="1727" y="686"/>
                </a:lnTo>
                <a:lnTo>
                  <a:pt x="1727" y="684"/>
                </a:lnTo>
                <a:lnTo>
                  <a:pt x="1729" y="684"/>
                </a:lnTo>
                <a:lnTo>
                  <a:pt x="1730" y="684"/>
                </a:lnTo>
                <a:lnTo>
                  <a:pt x="1731" y="684"/>
                </a:lnTo>
                <a:lnTo>
                  <a:pt x="1733" y="686"/>
                </a:lnTo>
                <a:lnTo>
                  <a:pt x="1734" y="687"/>
                </a:lnTo>
                <a:lnTo>
                  <a:pt x="1735" y="687"/>
                </a:lnTo>
                <a:lnTo>
                  <a:pt x="1735" y="690"/>
                </a:lnTo>
                <a:lnTo>
                  <a:pt x="1737" y="690"/>
                </a:lnTo>
                <a:lnTo>
                  <a:pt x="1738" y="692"/>
                </a:lnTo>
                <a:lnTo>
                  <a:pt x="1740" y="692"/>
                </a:lnTo>
                <a:lnTo>
                  <a:pt x="1738" y="694"/>
                </a:lnTo>
                <a:lnTo>
                  <a:pt x="1738" y="695"/>
                </a:lnTo>
                <a:lnTo>
                  <a:pt x="1738" y="696"/>
                </a:lnTo>
                <a:lnTo>
                  <a:pt x="1740" y="696"/>
                </a:lnTo>
                <a:lnTo>
                  <a:pt x="1748" y="701"/>
                </a:lnTo>
                <a:lnTo>
                  <a:pt x="1748" y="702"/>
                </a:lnTo>
                <a:lnTo>
                  <a:pt x="1749" y="702"/>
                </a:lnTo>
                <a:lnTo>
                  <a:pt x="1749" y="702"/>
                </a:lnTo>
                <a:lnTo>
                  <a:pt x="1750" y="703"/>
                </a:lnTo>
                <a:lnTo>
                  <a:pt x="1750" y="702"/>
                </a:lnTo>
                <a:lnTo>
                  <a:pt x="1752" y="702"/>
                </a:lnTo>
                <a:lnTo>
                  <a:pt x="1752" y="702"/>
                </a:lnTo>
                <a:lnTo>
                  <a:pt x="1752" y="702"/>
                </a:lnTo>
                <a:lnTo>
                  <a:pt x="1753" y="702"/>
                </a:lnTo>
                <a:lnTo>
                  <a:pt x="1753" y="703"/>
                </a:lnTo>
                <a:lnTo>
                  <a:pt x="1755" y="703"/>
                </a:lnTo>
                <a:lnTo>
                  <a:pt x="1755" y="703"/>
                </a:lnTo>
                <a:lnTo>
                  <a:pt x="1755" y="702"/>
                </a:lnTo>
                <a:lnTo>
                  <a:pt x="1756" y="701"/>
                </a:lnTo>
                <a:lnTo>
                  <a:pt x="1756" y="701"/>
                </a:lnTo>
                <a:lnTo>
                  <a:pt x="1756" y="699"/>
                </a:lnTo>
                <a:lnTo>
                  <a:pt x="1755" y="699"/>
                </a:lnTo>
                <a:lnTo>
                  <a:pt x="1755" y="698"/>
                </a:lnTo>
                <a:lnTo>
                  <a:pt x="1755" y="698"/>
                </a:lnTo>
                <a:lnTo>
                  <a:pt x="1753" y="698"/>
                </a:lnTo>
                <a:lnTo>
                  <a:pt x="1753" y="696"/>
                </a:lnTo>
                <a:lnTo>
                  <a:pt x="1753" y="695"/>
                </a:lnTo>
                <a:lnTo>
                  <a:pt x="1752" y="694"/>
                </a:lnTo>
                <a:lnTo>
                  <a:pt x="1742" y="682"/>
                </a:lnTo>
                <a:lnTo>
                  <a:pt x="1741" y="679"/>
                </a:lnTo>
                <a:lnTo>
                  <a:pt x="1740" y="677"/>
                </a:lnTo>
                <a:lnTo>
                  <a:pt x="1741" y="676"/>
                </a:lnTo>
                <a:lnTo>
                  <a:pt x="1741" y="675"/>
                </a:lnTo>
                <a:lnTo>
                  <a:pt x="1741" y="673"/>
                </a:lnTo>
                <a:lnTo>
                  <a:pt x="1741" y="672"/>
                </a:lnTo>
                <a:lnTo>
                  <a:pt x="1741" y="672"/>
                </a:lnTo>
                <a:lnTo>
                  <a:pt x="1740" y="672"/>
                </a:lnTo>
                <a:lnTo>
                  <a:pt x="1740" y="671"/>
                </a:lnTo>
                <a:lnTo>
                  <a:pt x="1740" y="669"/>
                </a:lnTo>
                <a:lnTo>
                  <a:pt x="1740" y="668"/>
                </a:lnTo>
                <a:lnTo>
                  <a:pt x="1740" y="667"/>
                </a:lnTo>
                <a:lnTo>
                  <a:pt x="1741" y="665"/>
                </a:lnTo>
                <a:lnTo>
                  <a:pt x="1741" y="665"/>
                </a:lnTo>
                <a:lnTo>
                  <a:pt x="1744" y="664"/>
                </a:lnTo>
                <a:lnTo>
                  <a:pt x="1745" y="663"/>
                </a:lnTo>
                <a:lnTo>
                  <a:pt x="1748" y="660"/>
                </a:lnTo>
                <a:lnTo>
                  <a:pt x="1748" y="660"/>
                </a:lnTo>
                <a:lnTo>
                  <a:pt x="1750" y="658"/>
                </a:lnTo>
                <a:lnTo>
                  <a:pt x="1750" y="658"/>
                </a:lnTo>
                <a:lnTo>
                  <a:pt x="1750" y="658"/>
                </a:lnTo>
                <a:lnTo>
                  <a:pt x="1752" y="658"/>
                </a:lnTo>
                <a:lnTo>
                  <a:pt x="1752" y="657"/>
                </a:lnTo>
                <a:lnTo>
                  <a:pt x="1752" y="657"/>
                </a:lnTo>
                <a:lnTo>
                  <a:pt x="1752" y="656"/>
                </a:lnTo>
                <a:lnTo>
                  <a:pt x="1753" y="656"/>
                </a:lnTo>
                <a:lnTo>
                  <a:pt x="1753" y="656"/>
                </a:lnTo>
                <a:lnTo>
                  <a:pt x="1755" y="654"/>
                </a:lnTo>
                <a:lnTo>
                  <a:pt x="1755" y="654"/>
                </a:lnTo>
                <a:lnTo>
                  <a:pt x="1755" y="654"/>
                </a:lnTo>
                <a:lnTo>
                  <a:pt x="1756" y="653"/>
                </a:lnTo>
                <a:lnTo>
                  <a:pt x="1759" y="650"/>
                </a:lnTo>
                <a:lnTo>
                  <a:pt x="1760" y="650"/>
                </a:lnTo>
                <a:lnTo>
                  <a:pt x="1760" y="649"/>
                </a:lnTo>
                <a:lnTo>
                  <a:pt x="1761" y="648"/>
                </a:lnTo>
                <a:lnTo>
                  <a:pt x="1763" y="648"/>
                </a:lnTo>
                <a:lnTo>
                  <a:pt x="1764" y="648"/>
                </a:lnTo>
                <a:lnTo>
                  <a:pt x="1764" y="648"/>
                </a:lnTo>
                <a:lnTo>
                  <a:pt x="1765" y="648"/>
                </a:lnTo>
                <a:lnTo>
                  <a:pt x="1765" y="649"/>
                </a:lnTo>
                <a:lnTo>
                  <a:pt x="1765" y="649"/>
                </a:lnTo>
                <a:lnTo>
                  <a:pt x="1767" y="649"/>
                </a:lnTo>
                <a:lnTo>
                  <a:pt x="1768" y="649"/>
                </a:lnTo>
                <a:lnTo>
                  <a:pt x="1768" y="648"/>
                </a:lnTo>
                <a:lnTo>
                  <a:pt x="1768" y="648"/>
                </a:lnTo>
                <a:lnTo>
                  <a:pt x="1768" y="646"/>
                </a:lnTo>
                <a:lnTo>
                  <a:pt x="1768" y="645"/>
                </a:lnTo>
                <a:lnTo>
                  <a:pt x="1769" y="642"/>
                </a:lnTo>
                <a:lnTo>
                  <a:pt x="1769" y="642"/>
                </a:lnTo>
                <a:lnTo>
                  <a:pt x="1769" y="639"/>
                </a:lnTo>
                <a:lnTo>
                  <a:pt x="1767" y="637"/>
                </a:lnTo>
                <a:lnTo>
                  <a:pt x="1765" y="635"/>
                </a:lnTo>
                <a:lnTo>
                  <a:pt x="1765" y="633"/>
                </a:lnTo>
                <a:lnTo>
                  <a:pt x="1768" y="629"/>
                </a:lnTo>
                <a:lnTo>
                  <a:pt x="1767" y="627"/>
                </a:lnTo>
                <a:lnTo>
                  <a:pt x="1765" y="626"/>
                </a:lnTo>
                <a:lnTo>
                  <a:pt x="1761" y="623"/>
                </a:lnTo>
                <a:lnTo>
                  <a:pt x="1761" y="622"/>
                </a:lnTo>
                <a:lnTo>
                  <a:pt x="1760" y="620"/>
                </a:lnTo>
                <a:lnTo>
                  <a:pt x="1760" y="620"/>
                </a:lnTo>
                <a:lnTo>
                  <a:pt x="1760" y="620"/>
                </a:lnTo>
                <a:lnTo>
                  <a:pt x="1759" y="620"/>
                </a:lnTo>
                <a:lnTo>
                  <a:pt x="1755" y="616"/>
                </a:lnTo>
                <a:lnTo>
                  <a:pt x="1752" y="616"/>
                </a:lnTo>
                <a:lnTo>
                  <a:pt x="1749" y="618"/>
                </a:lnTo>
                <a:lnTo>
                  <a:pt x="1748" y="619"/>
                </a:lnTo>
                <a:lnTo>
                  <a:pt x="1745" y="619"/>
                </a:lnTo>
                <a:lnTo>
                  <a:pt x="1744" y="619"/>
                </a:lnTo>
                <a:lnTo>
                  <a:pt x="1741" y="618"/>
                </a:lnTo>
                <a:lnTo>
                  <a:pt x="1741" y="612"/>
                </a:lnTo>
                <a:lnTo>
                  <a:pt x="1738" y="609"/>
                </a:lnTo>
                <a:lnTo>
                  <a:pt x="1734" y="607"/>
                </a:lnTo>
                <a:lnTo>
                  <a:pt x="1730" y="601"/>
                </a:lnTo>
                <a:lnTo>
                  <a:pt x="1725" y="600"/>
                </a:lnTo>
                <a:lnTo>
                  <a:pt x="1721" y="601"/>
                </a:lnTo>
                <a:lnTo>
                  <a:pt x="1719" y="605"/>
                </a:lnTo>
                <a:lnTo>
                  <a:pt x="1718" y="608"/>
                </a:lnTo>
                <a:lnTo>
                  <a:pt x="1718" y="612"/>
                </a:lnTo>
                <a:lnTo>
                  <a:pt x="1716" y="612"/>
                </a:lnTo>
                <a:lnTo>
                  <a:pt x="1715" y="608"/>
                </a:lnTo>
                <a:lnTo>
                  <a:pt x="1712" y="607"/>
                </a:lnTo>
                <a:lnTo>
                  <a:pt x="1715" y="603"/>
                </a:lnTo>
                <a:lnTo>
                  <a:pt x="1714" y="600"/>
                </a:lnTo>
                <a:lnTo>
                  <a:pt x="1718" y="597"/>
                </a:lnTo>
                <a:lnTo>
                  <a:pt x="1723" y="593"/>
                </a:lnTo>
                <a:lnTo>
                  <a:pt x="1723" y="590"/>
                </a:lnTo>
                <a:lnTo>
                  <a:pt x="1722" y="586"/>
                </a:lnTo>
                <a:lnTo>
                  <a:pt x="1719" y="582"/>
                </a:lnTo>
                <a:lnTo>
                  <a:pt x="1718" y="581"/>
                </a:lnTo>
                <a:lnTo>
                  <a:pt x="1718" y="578"/>
                </a:lnTo>
                <a:lnTo>
                  <a:pt x="1716" y="577"/>
                </a:lnTo>
                <a:lnTo>
                  <a:pt x="1716" y="575"/>
                </a:lnTo>
                <a:lnTo>
                  <a:pt x="1715" y="575"/>
                </a:lnTo>
                <a:lnTo>
                  <a:pt x="1715" y="575"/>
                </a:lnTo>
                <a:lnTo>
                  <a:pt x="1714" y="574"/>
                </a:lnTo>
                <a:lnTo>
                  <a:pt x="1715" y="574"/>
                </a:lnTo>
                <a:lnTo>
                  <a:pt x="1710" y="571"/>
                </a:lnTo>
                <a:lnTo>
                  <a:pt x="1708" y="567"/>
                </a:lnTo>
                <a:lnTo>
                  <a:pt x="1704" y="569"/>
                </a:lnTo>
                <a:lnTo>
                  <a:pt x="1699" y="571"/>
                </a:lnTo>
                <a:lnTo>
                  <a:pt x="1697" y="566"/>
                </a:lnTo>
                <a:lnTo>
                  <a:pt x="1699" y="565"/>
                </a:lnTo>
                <a:lnTo>
                  <a:pt x="1699" y="565"/>
                </a:lnTo>
                <a:lnTo>
                  <a:pt x="1700" y="563"/>
                </a:lnTo>
                <a:lnTo>
                  <a:pt x="1707" y="562"/>
                </a:lnTo>
                <a:lnTo>
                  <a:pt x="1707" y="562"/>
                </a:lnTo>
                <a:lnTo>
                  <a:pt x="1708" y="559"/>
                </a:lnTo>
                <a:lnTo>
                  <a:pt x="1710" y="556"/>
                </a:lnTo>
                <a:lnTo>
                  <a:pt x="1710" y="556"/>
                </a:lnTo>
                <a:lnTo>
                  <a:pt x="1708" y="555"/>
                </a:lnTo>
                <a:lnTo>
                  <a:pt x="1707" y="555"/>
                </a:lnTo>
                <a:lnTo>
                  <a:pt x="1707" y="555"/>
                </a:lnTo>
                <a:lnTo>
                  <a:pt x="1706" y="555"/>
                </a:lnTo>
                <a:lnTo>
                  <a:pt x="1703" y="556"/>
                </a:lnTo>
                <a:lnTo>
                  <a:pt x="1701" y="556"/>
                </a:lnTo>
                <a:lnTo>
                  <a:pt x="1700" y="556"/>
                </a:lnTo>
                <a:lnTo>
                  <a:pt x="1697" y="554"/>
                </a:lnTo>
                <a:lnTo>
                  <a:pt x="1697" y="552"/>
                </a:lnTo>
                <a:lnTo>
                  <a:pt x="1696" y="550"/>
                </a:lnTo>
                <a:lnTo>
                  <a:pt x="1696" y="548"/>
                </a:lnTo>
                <a:lnTo>
                  <a:pt x="1692" y="548"/>
                </a:lnTo>
                <a:lnTo>
                  <a:pt x="1688" y="548"/>
                </a:lnTo>
                <a:lnTo>
                  <a:pt x="1684" y="550"/>
                </a:lnTo>
                <a:lnTo>
                  <a:pt x="1678" y="551"/>
                </a:lnTo>
                <a:lnTo>
                  <a:pt x="1674" y="550"/>
                </a:lnTo>
                <a:lnTo>
                  <a:pt x="1673" y="550"/>
                </a:lnTo>
                <a:lnTo>
                  <a:pt x="1672" y="550"/>
                </a:lnTo>
                <a:lnTo>
                  <a:pt x="1672" y="555"/>
                </a:lnTo>
                <a:lnTo>
                  <a:pt x="1670" y="559"/>
                </a:lnTo>
                <a:lnTo>
                  <a:pt x="1666" y="558"/>
                </a:lnTo>
                <a:lnTo>
                  <a:pt x="1662" y="556"/>
                </a:lnTo>
                <a:lnTo>
                  <a:pt x="1662" y="556"/>
                </a:lnTo>
                <a:lnTo>
                  <a:pt x="1661" y="556"/>
                </a:lnTo>
                <a:lnTo>
                  <a:pt x="1661" y="556"/>
                </a:lnTo>
                <a:lnTo>
                  <a:pt x="1661" y="558"/>
                </a:lnTo>
                <a:lnTo>
                  <a:pt x="1659" y="558"/>
                </a:lnTo>
                <a:lnTo>
                  <a:pt x="1659" y="559"/>
                </a:lnTo>
                <a:lnTo>
                  <a:pt x="1659" y="559"/>
                </a:lnTo>
                <a:lnTo>
                  <a:pt x="1658" y="559"/>
                </a:lnTo>
                <a:lnTo>
                  <a:pt x="1658" y="561"/>
                </a:lnTo>
                <a:lnTo>
                  <a:pt x="1658" y="562"/>
                </a:lnTo>
                <a:lnTo>
                  <a:pt x="1658" y="565"/>
                </a:lnTo>
                <a:lnTo>
                  <a:pt x="1658" y="565"/>
                </a:lnTo>
                <a:lnTo>
                  <a:pt x="1655" y="565"/>
                </a:lnTo>
                <a:lnTo>
                  <a:pt x="1655" y="565"/>
                </a:lnTo>
                <a:lnTo>
                  <a:pt x="1654" y="563"/>
                </a:lnTo>
                <a:lnTo>
                  <a:pt x="1654" y="561"/>
                </a:lnTo>
                <a:lnTo>
                  <a:pt x="1653" y="562"/>
                </a:lnTo>
                <a:lnTo>
                  <a:pt x="1651" y="565"/>
                </a:lnTo>
                <a:lnTo>
                  <a:pt x="1648" y="565"/>
                </a:lnTo>
                <a:lnTo>
                  <a:pt x="1646" y="565"/>
                </a:lnTo>
                <a:lnTo>
                  <a:pt x="1643" y="566"/>
                </a:lnTo>
                <a:lnTo>
                  <a:pt x="1643" y="570"/>
                </a:lnTo>
                <a:lnTo>
                  <a:pt x="1640" y="570"/>
                </a:lnTo>
                <a:lnTo>
                  <a:pt x="1640" y="569"/>
                </a:lnTo>
                <a:lnTo>
                  <a:pt x="1639" y="569"/>
                </a:lnTo>
                <a:lnTo>
                  <a:pt x="1639" y="567"/>
                </a:lnTo>
                <a:lnTo>
                  <a:pt x="1639" y="567"/>
                </a:lnTo>
                <a:lnTo>
                  <a:pt x="1639" y="567"/>
                </a:lnTo>
                <a:lnTo>
                  <a:pt x="1638" y="567"/>
                </a:lnTo>
                <a:lnTo>
                  <a:pt x="1633" y="566"/>
                </a:lnTo>
                <a:lnTo>
                  <a:pt x="1632" y="566"/>
                </a:lnTo>
                <a:lnTo>
                  <a:pt x="1629" y="563"/>
                </a:lnTo>
                <a:lnTo>
                  <a:pt x="1625" y="563"/>
                </a:lnTo>
                <a:lnTo>
                  <a:pt x="1625" y="563"/>
                </a:lnTo>
                <a:lnTo>
                  <a:pt x="1624" y="562"/>
                </a:lnTo>
                <a:lnTo>
                  <a:pt x="1624" y="563"/>
                </a:lnTo>
                <a:lnTo>
                  <a:pt x="1625" y="565"/>
                </a:lnTo>
                <a:lnTo>
                  <a:pt x="1625" y="565"/>
                </a:lnTo>
                <a:lnTo>
                  <a:pt x="1624" y="565"/>
                </a:lnTo>
                <a:lnTo>
                  <a:pt x="1620" y="563"/>
                </a:lnTo>
                <a:lnTo>
                  <a:pt x="1617" y="562"/>
                </a:lnTo>
                <a:lnTo>
                  <a:pt x="1616" y="562"/>
                </a:lnTo>
                <a:lnTo>
                  <a:pt x="1614" y="562"/>
                </a:lnTo>
                <a:lnTo>
                  <a:pt x="1613" y="562"/>
                </a:lnTo>
                <a:lnTo>
                  <a:pt x="1612" y="562"/>
                </a:lnTo>
                <a:lnTo>
                  <a:pt x="1613" y="559"/>
                </a:lnTo>
                <a:lnTo>
                  <a:pt x="1612" y="558"/>
                </a:lnTo>
                <a:lnTo>
                  <a:pt x="1609" y="554"/>
                </a:lnTo>
                <a:lnTo>
                  <a:pt x="1606" y="552"/>
                </a:lnTo>
                <a:lnTo>
                  <a:pt x="1604" y="552"/>
                </a:lnTo>
                <a:lnTo>
                  <a:pt x="1602" y="552"/>
                </a:lnTo>
                <a:lnTo>
                  <a:pt x="1601" y="552"/>
                </a:lnTo>
                <a:lnTo>
                  <a:pt x="1598" y="558"/>
                </a:lnTo>
                <a:lnTo>
                  <a:pt x="1597" y="558"/>
                </a:lnTo>
                <a:lnTo>
                  <a:pt x="1597" y="559"/>
                </a:lnTo>
                <a:lnTo>
                  <a:pt x="1595" y="559"/>
                </a:lnTo>
                <a:lnTo>
                  <a:pt x="1591" y="559"/>
                </a:lnTo>
                <a:lnTo>
                  <a:pt x="1590" y="559"/>
                </a:lnTo>
                <a:lnTo>
                  <a:pt x="1589" y="561"/>
                </a:lnTo>
                <a:lnTo>
                  <a:pt x="1589" y="561"/>
                </a:lnTo>
                <a:lnTo>
                  <a:pt x="1587" y="563"/>
                </a:lnTo>
                <a:lnTo>
                  <a:pt x="1586" y="563"/>
                </a:lnTo>
                <a:lnTo>
                  <a:pt x="1586" y="563"/>
                </a:lnTo>
                <a:lnTo>
                  <a:pt x="1583" y="563"/>
                </a:lnTo>
                <a:lnTo>
                  <a:pt x="1582" y="567"/>
                </a:lnTo>
                <a:lnTo>
                  <a:pt x="1585" y="570"/>
                </a:lnTo>
                <a:lnTo>
                  <a:pt x="1587" y="571"/>
                </a:lnTo>
                <a:lnTo>
                  <a:pt x="1583" y="575"/>
                </a:lnTo>
                <a:lnTo>
                  <a:pt x="1580" y="578"/>
                </a:lnTo>
                <a:lnTo>
                  <a:pt x="1576" y="578"/>
                </a:lnTo>
                <a:lnTo>
                  <a:pt x="1574" y="581"/>
                </a:lnTo>
                <a:lnTo>
                  <a:pt x="1571" y="581"/>
                </a:lnTo>
                <a:lnTo>
                  <a:pt x="1568" y="582"/>
                </a:lnTo>
                <a:lnTo>
                  <a:pt x="1567" y="584"/>
                </a:lnTo>
                <a:lnTo>
                  <a:pt x="1565" y="584"/>
                </a:lnTo>
                <a:lnTo>
                  <a:pt x="1564" y="585"/>
                </a:lnTo>
                <a:lnTo>
                  <a:pt x="1564" y="585"/>
                </a:lnTo>
                <a:lnTo>
                  <a:pt x="1563" y="585"/>
                </a:lnTo>
                <a:lnTo>
                  <a:pt x="1561" y="585"/>
                </a:lnTo>
                <a:lnTo>
                  <a:pt x="1560" y="585"/>
                </a:lnTo>
                <a:lnTo>
                  <a:pt x="1560" y="586"/>
                </a:lnTo>
                <a:lnTo>
                  <a:pt x="1560" y="586"/>
                </a:lnTo>
                <a:lnTo>
                  <a:pt x="1560" y="586"/>
                </a:lnTo>
                <a:lnTo>
                  <a:pt x="1560" y="588"/>
                </a:lnTo>
                <a:lnTo>
                  <a:pt x="1560" y="588"/>
                </a:lnTo>
                <a:lnTo>
                  <a:pt x="1559" y="588"/>
                </a:lnTo>
                <a:lnTo>
                  <a:pt x="1559" y="588"/>
                </a:lnTo>
                <a:lnTo>
                  <a:pt x="1559" y="588"/>
                </a:lnTo>
                <a:lnTo>
                  <a:pt x="1557" y="589"/>
                </a:lnTo>
                <a:lnTo>
                  <a:pt x="1555" y="590"/>
                </a:lnTo>
                <a:lnTo>
                  <a:pt x="1553" y="590"/>
                </a:lnTo>
                <a:lnTo>
                  <a:pt x="1549" y="595"/>
                </a:lnTo>
                <a:lnTo>
                  <a:pt x="1548" y="595"/>
                </a:lnTo>
                <a:lnTo>
                  <a:pt x="1548" y="595"/>
                </a:lnTo>
                <a:lnTo>
                  <a:pt x="1546" y="593"/>
                </a:lnTo>
                <a:lnTo>
                  <a:pt x="1545" y="595"/>
                </a:lnTo>
                <a:lnTo>
                  <a:pt x="1544" y="596"/>
                </a:lnTo>
                <a:lnTo>
                  <a:pt x="1544" y="596"/>
                </a:lnTo>
                <a:lnTo>
                  <a:pt x="1542" y="596"/>
                </a:lnTo>
                <a:lnTo>
                  <a:pt x="1538" y="596"/>
                </a:lnTo>
                <a:lnTo>
                  <a:pt x="1533" y="596"/>
                </a:lnTo>
                <a:lnTo>
                  <a:pt x="1527" y="599"/>
                </a:lnTo>
                <a:lnTo>
                  <a:pt x="1525" y="600"/>
                </a:lnTo>
                <a:lnTo>
                  <a:pt x="1522" y="603"/>
                </a:lnTo>
                <a:lnTo>
                  <a:pt x="1519" y="604"/>
                </a:lnTo>
                <a:lnTo>
                  <a:pt x="1516" y="607"/>
                </a:lnTo>
                <a:lnTo>
                  <a:pt x="1515" y="608"/>
                </a:lnTo>
                <a:lnTo>
                  <a:pt x="1515" y="609"/>
                </a:lnTo>
                <a:lnTo>
                  <a:pt x="1514" y="612"/>
                </a:lnTo>
                <a:lnTo>
                  <a:pt x="1512" y="615"/>
                </a:lnTo>
                <a:lnTo>
                  <a:pt x="1511" y="616"/>
                </a:lnTo>
                <a:lnTo>
                  <a:pt x="1506" y="620"/>
                </a:lnTo>
                <a:lnTo>
                  <a:pt x="1504" y="622"/>
                </a:lnTo>
                <a:lnTo>
                  <a:pt x="1503" y="623"/>
                </a:lnTo>
                <a:lnTo>
                  <a:pt x="1500" y="624"/>
                </a:lnTo>
                <a:lnTo>
                  <a:pt x="1500" y="624"/>
                </a:lnTo>
                <a:lnTo>
                  <a:pt x="1499" y="626"/>
                </a:lnTo>
                <a:lnTo>
                  <a:pt x="1497" y="627"/>
                </a:lnTo>
                <a:lnTo>
                  <a:pt x="1496" y="629"/>
                </a:lnTo>
                <a:lnTo>
                  <a:pt x="1495" y="629"/>
                </a:lnTo>
                <a:lnTo>
                  <a:pt x="1495" y="630"/>
                </a:lnTo>
                <a:lnTo>
                  <a:pt x="1493" y="630"/>
                </a:lnTo>
                <a:lnTo>
                  <a:pt x="1492" y="630"/>
                </a:lnTo>
                <a:lnTo>
                  <a:pt x="1492" y="629"/>
                </a:lnTo>
                <a:lnTo>
                  <a:pt x="1492" y="629"/>
                </a:lnTo>
                <a:lnTo>
                  <a:pt x="1492" y="629"/>
                </a:lnTo>
                <a:lnTo>
                  <a:pt x="1492" y="629"/>
                </a:lnTo>
                <a:lnTo>
                  <a:pt x="1488" y="631"/>
                </a:lnTo>
                <a:lnTo>
                  <a:pt x="1487" y="633"/>
                </a:lnTo>
                <a:lnTo>
                  <a:pt x="1484" y="634"/>
                </a:lnTo>
                <a:lnTo>
                  <a:pt x="1484" y="637"/>
                </a:lnTo>
                <a:lnTo>
                  <a:pt x="1484" y="638"/>
                </a:lnTo>
                <a:lnTo>
                  <a:pt x="1484" y="638"/>
                </a:lnTo>
                <a:lnTo>
                  <a:pt x="1487" y="638"/>
                </a:lnTo>
                <a:lnTo>
                  <a:pt x="1488" y="639"/>
                </a:lnTo>
                <a:lnTo>
                  <a:pt x="1488" y="639"/>
                </a:lnTo>
                <a:lnTo>
                  <a:pt x="1487" y="642"/>
                </a:lnTo>
                <a:lnTo>
                  <a:pt x="1487" y="642"/>
                </a:lnTo>
                <a:lnTo>
                  <a:pt x="1487" y="642"/>
                </a:lnTo>
                <a:lnTo>
                  <a:pt x="1487" y="643"/>
                </a:lnTo>
                <a:lnTo>
                  <a:pt x="1485" y="645"/>
                </a:lnTo>
                <a:lnTo>
                  <a:pt x="1482" y="648"/>
                </a:lnTo>
                <a:lnTo>
                  <a:pt x="1481" y="648"/>
                </a:lnTo>
                <a:lnTo>
                  <a:pt x="1480" y="648"/>
                </a:lnTo>
                <a:lnTo>
                  <a:pt x="1478" y="649"/>
                </a:lnTo>
                <a:lnTo>
                  <a:pt x="1477" y="650"/>
                </a:lnTo>
                <a:lnTo>
                  <a:pt x="1477" y="650"/>
                </a:lnTo>
                <a:lnTo>
                  <a:pt x="1473" y="652"/>
                </a:lnTo>
                <a:lnTo>
                  <a:pt x="1472" y="653"/>
                </a:lnTo>
                <a:lnTo>
                  <a:pt x="1470" y="653"/>
                </a:lnTo>
                <a:lnTo>
                  <a:pt x="1470" y="653"/>
                </a:lnTo>
                <a:lnTo>
                  <a:pt x="1469" y="652"/>
                </a:lnTo>
                <a:lnTo>
                  <a:pt x="1469" y="652"/>
                </a:lnTo>
                <a:lnTo>
                  <a:pt x="1468" y="652"/>
                </a:lnTo>
                <a:lnTo>
                  <a:pt x="1468" y="653"/>
                </a:lnTo>
                <a:lnTo>
                  <a:pt x="1468" y="654"/>
                </a:lnTo>
                <a:lnTo>
                  <a:pt x="1466" y="654"/>
                </a:lnTo>
                <a:lnTo>
                  <a:pt x="1465" y="654"/>
                </a:lnTo>
                <a:lnTo>
                  <a:pt x="1465" y="653"/>
                </a:lnTo>
                <a:lnTo>
                  <a:pt x="1465" y="653"/>
                </a:lnTo>
                <a:lnTo>
                  <a:pt x="1463" y="654"/>
                </a:lnTo>
                <a:lnTo>
                  <a:pt x="1463" y="656"/>
                </a:lnTo>
                <a:lnTo>
                  <a:pt x="1462" y="656"/>
                </a:lnTo>
                <a:lnTo>
                  <a:pt x="1462" y="654"/>
                </a:lnTo>
                <a:lnTo>
                  <a:pt x="1461" y="652"/>
                </a:lnTo>
                <a:lnTo>
                  <a:pt x="1459" y="650"/>
                </a:lnTo>
                <a:lnTo>
                  <a:pt x="1459" y="650"/>
                </a:lnTo>
                <a:lnTo>
                  <a:pt x="1459" y="652"/>
                </a:lnTo>
                <a:lnTo>
                  <a:pt x="1459" y="652"/>
                </a:lnTo>
                <a:lnTo>
                  <a:pt x="1459" y="653"/>
                </a:lnTo>
                <a:lnTo>
                  <a:pt x="1459" y="653"/>
                </a:lnTo>
                <a:lnTo>
                  <a:pt x="1459" y="654"/>
                </a:lnTo>
                <a:lnTo>
                  <a:pt x="1458" y="654"/>
                </a:lnTo>
                <a:lnTo>
                  <a:pt x="1458" y="654"/>
                </a:lnTo>
                <a:lnTo>
                  <a:pt x="1453" y="654"/>
                </a:lnTo>
                <a:lnTo>
                  <a:pt x="1451" y="654"/>
                </a:lnTo>
                <a:lnTo>
                  <a:pt x="1448" y="656"/>
                </a:lnTo>
                <a:lnTo>
                  <a:pt x="1446" y="658"/>
                </a:lnTo>
                <a:lnTo>
                  <a:pt x="1443" y="660"/>
                </a:lnTo>
                <a:lnTo>
                  <a:pt x="1442" y="660"/>
                </a:lnTo>
                <a:lnTo>
                  <a:pt x="1439" y="660"/>
                </a:lnTo>
                <a:lnTo>
                  <a:pt x="1436" y="660"/>
                </a:lnTo>
                <a:lnTo>
                  <a:pt x="1436" y="660"/>
                </a:lnTo>
                <a:lnTo>
                  <a:pt x="1434" y="658"/>
                </a:lnTo>
                <a:lnTo>
                  <a:pt x="1431" y="657"/>
                </a:lnTo>
                <a:lnTo>
                  <a:pt x="1423" y="657"/>
                </a:lnTo>
                <a:lnTo>
                  <a:pt x="1423" y="660"/>
                </a:lnTo>
                <a:lnTo>
                  <a:pt x="1420" y="664"/>
                </a:lnTo>
                <a:lnTo>
                  <a:pt x="1419" y="667"/>
                </a:lnTo>
                <a:lnTo>
                  <a:pt x="1420" y="672"/>
                </a:lnTo>
                <a:lnTo>
                  <a:pt x="1421" y="673"/>
                </a:lnTo>
                <a:lnTo>
                  <a:pt x="1423" y="675"/>
                </a:lnTo>
                <a:lnTo>
                  <a:pt x="1423" y="675"/>
                </a:lnTo>
                <a:lnTo>
                  <a:pt x="1424" y="676"/>
                </a:lnTo>
                <a:lnTo>
                  <a:pt x="1425" y="677"/>
                </a:lnTo>
                <a:lnTo>
                  <a:pt x="1427" y="677"/>
                </a:lnTo>
                <a:lnTo>
                  <a:pt x="1428" y="677"/>
                </a:lnTo>
                <a:lnTo>
                  <a:pt x="1429" y="679"/>
                </a:lnTo>
                <a:lnTo>
                  <a:pt x="1429" y="680"/>
                </a:lnTo>
                <a:lnTo>
                  <a:pt x="1429" y="680"/>
                </a:lnTo>
                <a:lnTo>
                  <a:pt x="1432" y="680"/>
                </a:lnTo>
                <a:lnTo>
                  <a:pt x="1436" y="679"/>
                </a:lnTo>
                <a:lnTo>
                  <a:pt x="1438" y="679"/>
                </a:lnTo>
                <a:lnTo>
                  <a:pt x="1440" y="679"/>
                </a:lnTo>
                <a:lnTo>
                  <a:pt x="1440" y="679"/>
                </a:lnTo>
                <a:lnTo>
                  <a:pt x="1443" y="677"/>
                </a:lnTo>
                <a:lnTo>
                  <a:pt x="1443" y="677"/>
                </a:lnTo>
                <a:lnTo>
                  <a:pt x="1444" y="679"/>
                </a:lnTo>
                <a:lnTo>
                  <a:pt x="1450" y="688"/>
                </a:lnTo>
                <a:lnTo>
                  <a:pt x="1450" y="688"/>
                </a:lnTo>
                <a:lnTo>
                  <a:pt x="1450" y="690"/>
                </a:lnTo>
                <a:lnTo>
                  <a:pt x="1448" y="691"/>
                </a:lnTo>
                <a:lnTo>
                  <a:pt x="1447" y="692"/>
                </a:lnTo>
                <a:lnTo>
                  <a:pt x="1447" y="694"/>
                </a:lnTo>
                <a:lnTo>
                  <a:pt x="1447" y="695"/>
                </a:lnTo>
                <a:lnTo>
                  <a:pt x="1447" y="695"/>
                </a:lnTo>
                <a:lnTo>
                  <a:pt x="1446" y="695"/>
                </a:lnTo>
                <a:lnTo>
                  <a:pt x="1446" y="696"/>
                </a:lnTo>
                <a:lnTo>
                  <a:pt x="1446" y="696"/>
                </a:lnTo>
                <a:lnTo>
                  <a:pt x="1444" y="696"/>
                </a:lnTo>
                <a:lnTo>
                  <a:pt x="1444" y="698"/>
                </a:lnTo>
                <a:lnTo>
                  <a:pt x="1444" y="699"/>
                </a:lnTo>
                <a:lnTo>
                  <a:pt x="1444" y="701"/>
                </a:lnTo>
                <a:lnTo>
                  <a:pt x="1444" y="702"/>
                </a:lnTo>
                <a:lnTo>
                  <a:pt x="1444" y="703"/>
                </a:lnTo>
                <a:lnTo>
                  <a:pt x="1448" y="706"/>
                </a:lnTo>
                <a:lnTo>
                  <a:pt x="1448" y="709"/>
                </a:lnTo>
                <a:lnTo>
                  <a:pt x="1448" y="709"/>
                </a:lnTo>
                <a:lnTo>
                  <a:pt x="1450" y="713"/>
                </a:lnTo>
                <a:lnTo>
                  <a:pt x="1450" y="714"/>
                </a:lnTo>
                <a:lnTo>
                  <a:pt x="1450" y="716"/>
                </a:lnTo>
                <a:lnTo>
                  <a:pt x="1447" y="718"/>
                </a:lnTo>
                <a:lnTo>
                  <a:pt x="1443" y="718"/>
                </a:lnTo>
                <a:lnTo>
                  <a:pt x="1442" y="718"/>
                </a:lnTo>
                <a:lnTo>
                  <a:pt x="1440" y="717"/>
                </a:lnTo>
                <a:lnTo>
                  <a:pt x="1439" y="716"/>
                </a:lnTo>
                <a:lnTo>
                  <a:pt x="1439" y="717"/>
                </a:lnTo>
                <a:lnTo>
                  <a:pt x="1439" y="717"/>
                </a:lnTo>
                <a:lnTo>
                  <a:pt x="1439" y="718"/>
                </a:lnTo>
                <a:lnTo>
                  <a:pt x="1438" y="718"/>
                </a:lnTo>
                <a:lnTo>
                  <a:pt x="1438" y="720"/>
                </a:lnTo>
                <a:lnTo>
                  <a:pt x="1438" y="721"/>
                </a:lnTo>
                <a:lnTo>
                  <a:pt x="1438" y="721"/>
                </a:lnTo>
                <a:lnTo>
                  <a:pt x="1436" y="721"/>
                </a:lnTo>
                <a:lnTo>
                  <a:pt x="1436" y="721"/>
                </a:lnTo>
                <a:lnTo>
                  <a:pt x="1436" y="720"/>
                </a:lnTo>
                <a:lnTo>
                  <a:pt x="1435" y="718"/>
                </a:lnTo>
                <a:lnTo>
                  <a:pt x="1435" y="718"/>
                </a:lnTo>
                <a:lnTo>
                  <a:pt x="1432" y="718"/>
                </a:lnTo>
                <a:lnTo>
                  <a:pt x="1428" y="721"/>
                </a:lnTo>
                <a:lnTo>
                  <a:pt x="1427" y="721"/>
                </a:lnTo>
                <a:lnTo>
                  <a:pt x="1424" y="722"/>
                </a:lnTo>
                <a:lnTo>
                  <a:pt x="1423" y="722"/>
                </a:lnTo>
                <a:lnTo>
                  <a:pt x="1420" y="721"/>
                </a:lnTo>
                <a:lnTo>
                  <a:pt x="1419" y="721"/>
                </a:lnTo>
                <a:lnTo>
                  <a:pt x="1417" y="722"/>
                </a:lnTo>
                <a:lnTo>
                  <a:pt x="1416" y="722"/>
                </a:lnTo>
                <a:lnTo>
                  <a:pt x="1414" y="721"/>
                </a:lnTo>
                <a:lnTo>
                  <a:pt x="1413" y="718"/>
                </a:lnTo>
                <a:lnTo>
                  <a:pt x="1413" y="717"/>
                </a:lnTo>
                <a:lnTo>
                  <a:pt x="1412" y="717"/>
                </a:lnTo>
                <a:lnTo>
                  <a:pt x="1410" y="717"/>
                </a:lnTo>
                <a:lnTo>
                  <a:pt x="1409" y="717"/>
                </a:lnTo>
                <a:lnTo>
                  <a:pt x="1408" y="718"/>
                </a:lnTo>
                <a:lnTo>
                  <a:pt x="1408" y="720"/>
                </a:lnTo>
                <a:lnTo>
                  <a:pt x="1406" y="720"/>
                </a:lnTo>
                <a:lnTo>
                  <a:pt x="1406" y="721"/>
                </a:lnTo>
                <a:lnTo>
                  <a:pt x="1405" y="722"/>
                </a:lnTo>
                <a:lnTo>
                  <a:pt x="1404" y="722"/>
                </a:lnTo>
                <a:lnTo>
                  <a:pt x="1404" y="724"/>
                </a:lnTo>
                <a:lnTo>
                  <a:pt x="1402" y="724"/>
                </a:lnTo>
                <a:lnTo>
                  <a:pt x="1401" y="724"/>
                </a:lnTo>
                <a:lnTo>
                  <a:pt x="1400" y="724"/>
                </a:lnTo>
                <a:lnTo>
                  <a:pt x="1398" y="722"/>
                </a:lnTo>
                <a:lnTo>
                  <a:pt x="1397" y="722"/>
                </a:lnTo>
                <a:lnTo>
                  <a:pt x="1391" y="722"/>
                </a:lnTo>
                <a:lnTo>
                  <a:pt x="1390" y="721"/>
                </a:lnTo>
                <a:lnTo>
                  <a:pt x="1389" y="721"/>
                </a:lnTo>
                <a:lnTo>
                  <a:pt x="1385" y="722"/>
                </a:lnTo>
                <a:lnTo>
                  <a:pt x="1385" y="724"/>
                </a:lnTo>
                <a:lnTo>
                  <a:pt x="1380" y="724"/>
                </a:lnTo>
                <a:lnTo>
                  <a:pt x="1367" y="724"/>
                </a:lnTo>
                <a:lnTo>
                  <a:pt x="1359" y="724"/>
                </a:lnTo>
                <a:lnTo>
                  <a:pt x="1352" y="720"/>
                </a:lnTo>
                <a:lnTo>
                  <a:pt x="1346" y="716"/>
                </a:lnTo>
                <a:lnTo>
                  <a:pt x="1345" y="716"/>
                </a:lnTo>
                <a:lnTo>
                  <a:pt x="1344" y="716"/>
                </a:lnTo>
                <a:lnTo>
                  <a:pt x="1342" y="717"/>
                </a:lnTo>
                <a:lnTo>
                  <a:pt x="1342" y="717"/>
                </a:lnTo>
                <a:lnTo>
                  <a:pt x="1341" y="718"/>
                </a:lnTo>
                <a:lnTo>
                  <a:pt x="1340" y="718"/>
                </a:lnTo>
                <a:lnTo>
                  <a:pt x="1337" y="718"/>
                </a:lnTo>
                <a:lnTo>
                  <a:pt x="1337" y="718"/>
                </a:lnTo>
                <a:lnTo>
                  <a:pt x="1334" y="720"/>
                </a:lnTo>
                <a:lnTo>
                  <a:pt x="1333" y="724"/>
                </a:lnTo>
                <a:lnTo>
                  <a:pt x="1332" y="725"/>
                </a:lnTo>
                <a:lnTo>
                  <a:pt x="1329" y="725"/>
                </a:lnTo>
                <a:lnTo>
                  <a:pt x="1322" y="726"/>
                </a:lnTo>
                <a:lnTo>
                  <a:pt x="1318" y="728"/>
                </a:lnTo>
                <a:lnTo>
                  <a:pt x="1317" y="728"/>
                </a:lnTo>
                <a:lnTo>
                  <a:pt x="1317" y="728"/>
                </a:lnTo>
                <a:lnTo>
                  <a:pt x="1315" y="726"/>
                </a:lnTo>
                <a:lnTo>
                  <a:pt x="1315" y="726"/>
                </a:lnTo>
              </a:path>
            </a:pathLst>
          </a:custGeom>
          <a:solidFill>
            <a:srgbClr val="D9D9D9"/>
          </a:solidFill>
          <a:ln w="6350" cmpd="sng">
            <a:solidFill>
              <a:schemeClr val="bg1"/>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2156" dirty="0">
              <a:solidFill>
                <a:srgbClr val="000000"/>
              </a:solidFill>
              <a:latin typeface="Aria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SG" sz="1000" b="1" i="1">
                <a:solidFill>
                  <a:srgbClr val="00338D"/>
                </a:solidFill>
              </a:rPr>
              <a:t>{company_name} has presence across {num_countries} countries around the globe, with majority of foothold being in {dominant_country} continent</a:t>
            </a:r>
            <a:endParaRPr lang="en-US" sz="1000" b="1" i="1" dirty="0">
              <a:solidFill>
                <a:srgbClr val="00338D"/>
              </a:solidFill>
            </a:endParaRPr>
          </a:p>
        </p:txBody>
      </p:sp>
      <p:grpSp>
        <p:nvGrpSpPr>
          <p:cNvPr id="361" name="Group 69">
            <a:extLst>
              <a:ext uri="{FF2B5EF4-FFF2-40B4-BE49-F238E27FC236}">
                <a16:creationId xmlns:a16="http://schemas.microsoft.com/office/drawing/2014/main" id="{03D9E70A-2320-40A7-8CA1-D3C0777AB3B8}"/>
              </a:ext>
            </a:extLst>
          </p:cNvPr>
          <p:cNvGrpSpPr>
            <a:grpSpLocks noChangeAspect="1"/>
          </p:cNvGrpSpPr>
          <p:nvPr/>
        </p:nvGrpSpPr>
        <p:grpSpPr bwMode="gray">
          <a:xfrm>
            <a:off x="7620372" y="4267682"/>
            <a:ext cx="231306" cy="298539"/>
            <a:chOff x="3802" y="2280"/>
            <a:chExt cx="102" cy="146"/>
          </a:xfrm>
          <a:solidFill>
            <a:srgbClr val="D9D9D9"/>
          </a:solidFill>
        </p:grpSpPr>
        <p:sp>
          <p:nvSpPr>
            <p:cNvPr id="362" name="Freeform 70">
              <a:extLst>
                <a:ext uri="{FF2B5EF4-FFF2-40B4-BE49-F238E27FC236}">
                  <a16:creationId xmlns:a16="http://schemas.microsoft.com/office/drawing/2014/main" id="{B92BEAE5-AA5C-4A8F-9B24-1DA2640FC98B}"/>
                </a:ext>
              </a:extLst>
            </p:cNvPr>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3" name="Freeform 71">
              <a:extLst>
                <a:ext uri="{FF2B5EF4-FFF2-40B4-BE49-F238E27FC236}">
                  <a16:creationId xmlns:a16="http://schemas.microsoft.com/office/drawing/2014/main" id="{B6F9A5D0-548E-4693-BC24-DA6C69A76C90}"/>
                </a:ext>
              </a:extLst>
            </p:cNvPr>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4" name="Freeform 72">
              <a:extLst>
                <a:ext uri="{FF2B5EF4-FFF2-40B4-BE49-F238E27FC236}">
                  <a16:creationId xmlns:a16="http://schemas.microsoft.com/office/drawing/2014/main" id="{8FBDA65B-408F-42A1-B93A-D6F0732A8A78}"/>
                </a:ext>
              </a:extLst>
            </p:cNvPr>
            <p:cNvSpPr>
              <a:spLocks noChangeAspect="1"/>
            </p:cNvSpPr>
            <p:nvPr/>
          </p:nvSpPr>
          <p:spPr bwMode="gray">
            <a:xfrm>
              <a:off x="3830" y="2280"/>
              <a:ext cx="47" cy="69"/>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5" name="Freeform 73">
              <a:extLst>
                <a:ext uri="{FF2B5EF4-FFF2-40B4-BE49-F238E27FC236}">
                  <a16:creationId xmlns:a16="http://schemas.microsoft.com/office/drawing/2014/main" id="{50F9C867-5DB5-4469-8BCE-73E635D036C3}"/>
                </a:ext>
              </a:extLst>
            </p:cNvPr>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6" name="Freeform 74">
              <a:extLst>
                <a:ext uri="{FF2B5EF4-FFF2-40B4-BE49-F238E27FC236}">
                  <a16:creationId xmlns:a16="http://schemas.microsoft.com/office/drawing/2014/main" id="{47E6A869-A3D0-4224-A7EA-2003F0FD6D68}"/>
                </a:ext>
              </a:extLst>
            </p:cNvPr>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0" name="Freeform 75">
              <a:extLst>
                <a:ext uri="{FF2B5EF4-FFF2-40B4-BE49-F238E27FC236}">
                  <a16:creationId xmlns:a16="http://schemas.microsoft.com/office/drawing/2014/main" id="{32C2DA41-3D2C-4DE1-851F-D8856815F845}"/>
                </a:ext>
              </a:extLst>
            </p:cNvPr>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1" name="Freeform 76">
              <a:extLst>
                <a:ext uri="{FF2B5EF4-FFF2-40B4-BE49-F238E27FC236}">
                  <a16:creationId xmlns:a16="http://schemas.microsoft.com/office/drawing/2014/main" id="{105DA79E-0372-4112-9B85-2DFB659DBAE7}"/>
                </a:ext>
              </a:extLst>
            </p:cNvPr>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2" name="Freeform 77">
              <a:extLst>
                <a:ext uri="{FF2B5EF4-FFF2-40B4-BE49-F238E27FC236}">
                  <a16:creationId xmlns:a16="http://schemas.microsoft.com/office/drawing/2014/main" id="{DD4FCE99-3C7A-4D3F-8D7B-950E5F578857}"/>
                </a:ext>
              </a:extLst>
            </p:cNvPr>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3" name="Freeform 78">
              <a:extLst>
                <a:ext uri="{FF2B5EF4-FFF2-40B4-BE49-F238E27FC236}">
                  <a16:creationId xmlns:a16="http://schemas.microsoft.com/office/drawing/2014/main" id="{ACE64234-8A4A-4BC1-B819-66107B8269B7}"/>
                </a:ext>
              </a:extLst>
            </p:cNvPr>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4" name="Freeform 79">
              <a:extLst>
                <a:ext uri="{FF2B5EF4-FFF2-40B4-BE49-F238E27FC236}">
                  <a16:creationId xmlns:a16="http://schemas.microsoft.com/office/drawing/2014/main" id="{118626CD-E132-4D4E-A75F-209651BE33D5}"/>
                </a:ext>
              </a:extLst>
            </p:cNvPr>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5" name="Freeform 80">
              <a:extLst>
                <a:ext uri="{FF2B5EF4-FFF2-40B4-BE49-F238E27FC236}">
                  <a16:creationId xmlns:a16="http://schemas.microsoft.com/office/drawing/2014/main" id="{5E095B53-A2C6-4F59-8AF6-A2CA20794752}"/>
                </a:ext>
              </a:extLst>
            </p:cNvPr>
            <p:cNvSpPr>
              <a:spLocks noChangeAspect="1"/>
            </p:cNvSpPr>
            <p:nvPr/>
          </p:nvSpPr>
          <p:spPr bwMode="gray">
            <a:xfrm>
              <a:off x="3853" y="2380"/>
              <a:ext cx="51" cy="46"/>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376" name="Freeform 81">
            <a:extLst>
              <a:ext uri="{FF2B5EF4-FFF2-40B4-BE49-F238E27FC236}">
                <a16:creationId xmlns:a16="http://schemas.microsoft.com/office/drawing/2014/main" id="{0EEB84A2-A8CA-4797-975E-0257FCDC23B1}"/>
              </a:ext>
            </a:extLst>
          </p:cNvPr>
          <p:cNvSpPr>
            <a:spLocks noChangeAspect="1"/>
          </p:cNvSpPr>
          <p:nvPr/>
        </p:nvSpPr>
        <p:spPr bwMode="gray">
          <a:xfrm>
            <a:off x="7538735" y="4576445"/>
            <a:ext cx="34016" cy="24538"/>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6" name="Group 15">
            <a:extLst>
              <a:ext uri="{FF2B5EF4-FFF2-40B4-BE49-F238E27FC236}">
                <a16:creationId xmlns:a16="http://schemas.microsoft.com/office/drawing/2014/main" id="{92264541-07CA-9365-D324-11372DB818DE}"/>
              </a:ext>
            </a:extLst>
          </p:cNvPr>
          <p:cNvGrpSpPr/>
          <p:nvPr/>
        </p:nvGrpSpPr>
        <p:grpSpPr>
          <a:xfrm>
            <a:off x="7070943" y="4564470"/>
            <a:ext cx="1145193" cy="358565"/>
            <a:chOff x="7070943" y="4564470"/>
            <a:chExt cx="1145193" cy="358565"/>
          </a:xfrm>
        </p:grpSpPr>
        <p:sp>
          <p:nvSpPr>
            <p:cNvPr id="628" name="Freeform 64">
              <a:extLst>
                <a:ext uri="{FF2B5EF4-FFF2-40B4-BE49-F238E27FC236}">
                  <a16:creationId xmlns:a16="http://schemas.microsoft.com/office/drawing/2014/main" id="{7CDFC233-2971-4DFA-8498-60AB16F069BC}"/>
                </a:ext>
              </a:extLst>
            </p:cNvPr>
            <p:cNvSpPr>
              <a:spLocks noChangeAspect="1"/>
            </p:cNvSpPr>
            <p:nvPr/>
          </p:nvSpPr>
          <p:spPr bwMode="gray">
            <a:xfrm>
              <a:off x="7070943" y="4564470"/>
              <a:ext cx="269858" cy="257643"/>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1" name="Freeform 88">
              <a:extLst>
                <a:ext uri="{FF2B5EF4-FFF2-40B4-BE49-F238E27FC236}">
                  <a16:creationId xmlns:a16="http://schemas.microsoft.com/office/drawing/2014/main" id="{B5B1B933-EC4E-4E22-88A7-D8375CFDBCEB}"/>
                </a:ext>
              </a:extLst>
            </p:cNvPr>
            <p:cNvSpPr>
              <a:spLocks noChangeAspect="1"/>
            </p:cNvSpPr>
            <p:nvPr/>
          </p:nvSpPr>
          <p:spPr bwMode="gray">
            <a:xfrm>
              <a:off x="7957617" y="4699427"/>
              <a:ext cx="258519" cy="196299"/>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359" name="Freeform 65">
              <a:extLst>
                <a:ext uri="{FF2B5EF4-FFF2-40B4-BE49-F238E27FC236}">
                  <a16:creationId xmlns:a16="http://schemas.microsoft.com/office/drawing/2014/main" id="{EA368EB0-E999-4479-A465-7FF5DB4F9DDB}"/>
                </a:ext>
              </a:extLst>
            </p:cNvPr>
            <p:cNvSpPr>
              <a:spLocks noChangeAspect="1"/>
            </p:cNvSpPr>
            <p:nvPr/>
          </p:nvSpPr>
          <p:spPr bwMode="gray">
            <a:xfrm>
              <a:off x="7323303" y="4822840"/>
              <a:ext cx="229039" cy="65433"/>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0" name="Freeform 66">
              <a:extLst>
                <a:ext uri="{FF2B5EF4-FFF2-40B4-BE49-F238E27FC236}">
                  <a16:creationId xmlns:a16="http://schemas.microsoft.com/office/drawing/2014/main" id="{F27F6B97-030E-4E91-982C-15B00633237D}"/>
                </a:ext>
              </a:extLst>
            </p:cNvPr>
            <p:cNvSpPr>
              <a:spLocks noChangeAspect="1"/>
            </p:cNvSpPr>
            <p:nvPr/>
          </p:nvSpPr>
          <p:spPr bwMode="gray">
            <a:xfrm>
              <a:off x="7414012" y="4593825"/>
              <a:ext cx="247181" cy="190165"/>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8" name="Freeform 82">
              <a:extLst>
                <a:ext uri="{FF2B5EF4-FFF2-40B4-BE49-F238E27FC236}">
                  <a16:creationId xmlns:a16="http://schemas.microsoft.com/office/drawing/2014/main" id="{D049BB2B-3339-4224-9883-9329948AE9E2}"/>
                </a:ext>
              </a:extLst>
            </p:cNvPr>
            <p:cNvSpPr>
              <a:spLocks noChangeAspect="1"/>
            </p:cNvSpPr>
            <p:nvPr/>
          </p:nvSpPr>
          <p:spPr bwMode="gray">
            <a:xfrm>
              <a:off x="7590893" y="4763541"/>
              <a:ext cx="6804" cy="18404"/>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9" name="Freeform 83">
              <a:extLst>
                <a:ext uri="{FF2B5EF4-FFF2-40B4-BE49-F238E27FC236}">
                  <a16:creationId xmlns:a16="http://schemas.microsoft.com/office/drawing/2014/main" id="{D0AACF86-E31B-4F91-94C4-C1596E0AB5D7}"/>
                </a:ext>
              </a:extLst>
            </p:cNvPr>
            <p:cNvSpPr>
              <a:spLocks noChangeAspect="1"/>
            </p:cNvSpPr>
            <p:nvPr/>
          </p:nvSpPr>
          <p:spPr bwMode="gray">
            <a:xfrm>
              <a:off x="7806324" y="4878049"/>
              <a:ext cx="61229" cy="24538"/>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0" name="Freeform 84">
              <a:extLst>
                <a:ext uri="{FF2B5EF4-FFF2-40B4-BE49-F238E27FC236}">
                  <a16:creationId xmlns:a16="http://schemas.microsoft.com/office/drawing/2014/main" id="{5FE51AD5-D734-440D-92A2-4349F777AE21}"/>
                </a:ext>
              </a:extLst>
            </p:cNvPr>
            <p:cNvSpPr>
              <a:spLocks noChangeAspect="1"/>
            </p:cNvSpPr>
            <p:nvPr/>
          </p:nvSpPr>
          <p:spPr bwMode="gray">
            <a:xfrm>
              <a:off x="7776844" y="4894408"/>
              <a:ext cx="38552" cy="28627"/>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1" name="Freeform 85">
              <a:extLst>
                <a:ext uri="{FF2B5EF4-FFF2-40B4-BE49-F238E27FC236}">
                  <a16:creationId xmlns:a16="http://schemas.microsoft.com/office/drawing/2014/main" id="{8184B66F-F842-4411-BAB2-53D59517E410}"/>
                </a:ext>
              </a:extLst>
            </p:cNvPr>
            <p:cNvSpPr>
              <a:spLocks noChangeAspect="1"/>
            </p:cNvSpPr>
            <p:nvPr/>
          </p:nvSpPr>
          <p:spPr bwMode="gray">
            <a:xfrm>
              <a:off x="7885696" y="4753317"/>
              <a:ext cx="72567" cy="24538"/>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2" name="Freeform 86">
              <a:extLst>
                <a:ext uri="{FF2B5EF4-FFF2-40B4-BE49-F238E27FC236}">
                  <a16:creationId xmlns:a16="http://schemas.microsoft.com/office/drawing/2014/main" id="{B0443CCE-92C9-4C1D-AE1E-AA5D8AC3F1D1}"/>
                </a:ext>
              </a:extLst>
            </p:cNvPr>
            <p:cNvSpPr>
              <a:spLocks noChangeAspect="1"/>
            </p:cNvSpPr>
            <p:nvPr/>
          </p:nvSpPr>
          <p:spPr bwMode="gray">
            <a:xfrm>
              <a:off x="7661191" y="4653123"/>
              <a:ext cx="156473" cy="165628"/>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3" name="Freeform 87">
              <a:extLst>
                <a:ext uri="{FF2B5EF4-FFF2-40B4-BE49-F238E27FC236}">
                  <a16:creationId xmlns:a16="http://schemas.microsoft.com/office/drawing/2014/main" id="{F2ECCA12-9F8B-4D63-9DBC-66685E336FE4}"/>
                </a:ext>
              </a:extLst>
            </p:cNvPr>
            <p:cNvSpPr>
              <a:spLocks noChangeAspect="1"/>
            </p:cNvSpPr>
            <p:nvPr/>
          </p:nvSpPr>
          <p:spPr bwMode="gray">
            <a:xfrm>
              <a:off x="7872088" y="4640856"/>
              <a:ext cx="36283" cy="69523"/>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4" name="Group 13">
            <a:extLst>
              <a:ext uri="{FF2B5EF4-FFF2-40B4-BE49-F238E27FC236}">
                <a16:creationId xmlns:a16="http://schemas.microsoft.com/office/drawing/2014/main" id="{D7680D32-9EF1-415D-AF48-247B2C418991}"/>
              </a:ext>
            </a:extLst>
          </p:cNvPr>
          <p:cNvGrpSpPr/>
          <p:nvPr/>
        </p:nvGrpSpPr>
        <p:grpSpPr>
          <a:xfrm>
            <a:off x="7191962" y="4535550"/>
            <a:ext cx="476864" cy="134956"/>
            <a:chOff x="7191962" y="4535550"/>
            <a:chExt cx="476864" cy="134956"/>
          </a:xfrm>
        </p:grpSpPr>
        <p:sp>
          <p:nvSpPr>
            <p:cNvPr id="645" name="Freeform 92">
              <a:extLst>
                <a:ext uri="{FF2B5EF4-FFF2-40B4-BE49-F238E27FC236}">
                  <a16:creationId xmlns:a16="http://schemas.microsoft.com/office/drawing/2014/main" id="{74A5CAD9-E965-4E6A-8F0B-C981AC2B31E4}"/>
                </a:ext>
              </a:extLst>
            </p:cNvPr>
            <p:cNvSpPr>
              <a:spLocks noChangeAspect="1"/>
            </p:cNvSpPr>
            <p:nvPr/>
          </p:nvSpPr>
          <p:spPr bwMode="gray">
            <a:xfrm>
              <a:off x="7191962" y="4540397"/>
              <a:ext cx="102048" cy="120643"/>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384" name="Freeform 91">
              <a:extLst>
                <a:ext uri="{FF2B5EF4-FFF2-40B4-BE49-F238E27FC236}">
                  <a16:creationId xmlns:a16="http://schemas.microsoft.com/office/drawing/2014/main" id="{1F9C035E-C67D-441F-96D8-06E613D8BC07}"/>
                </a:ext>
              </a:extLst>
            </p:cNvPr>
            <p:cNvSpPr>
              <a:spLocks noChangeAspect="1"/>
            </p:cNvSpPr>
            <p:nvPr/>
          </p:nvSpPr>
          <p:spPr bwMode="gray">
            <a:xfrm>
              <a:off x="7428449" y="4535550"/>
              <a:ext cx="240377" cy="134956"/>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1" name="Group 10">
            <a:extLst>
              <a:ext uri="{FF2B5EF4-FFF2-40B4-BE49-F238E27FC236}">
                <a16:creationId xmlns:a16="http://schemas.microsoft.com/office/drawing/2014/main" id="{382F6BB1-0214-6EC9-1BDB-77D6BAFA380D}"/>
              </a:ext>
            </a:extLst>
          </p:cNvPr>
          <p:cNvGrpSpPr/>
          <p:nvPr/>
        </p:nvGrpSpPr>
        <p:grpSpPr>
          <a:xfrm>
            <a:off x="6531229" y="3274212"/>
            <a:ext cx="1523900" cy="1003696"/>
            <a:chOff x="6531229" y="3274212"/>
            <a:chExt cx="1523900" cy="1003696"/>
          </a:xfrm>
        </p:grpSpPr>
        <p:sp>
          <p:nvSpPr>
            <p:cNvPr id="656" name="Freeform 114">
              <a:extLst>
                <a:ext uri="{FF2B5EF4-FFF2-40B4-BE49-F238E27FC236}">
                  <a16:creationId xmlns:a16="http://schemas.microsoft.com/office/drawing/2014/main" id="{CEEB1F7B-D227-4AFA-8DB3-88C691A9F19B}"/>
                </a:ext>
              </a:extLst>
            </p:cNvPr>
            <p:cNvSpPr>
              <a:spLocks noChangeAspect="1"/>
            </p:cNvSpPr>
            <p:nvPr/>
          </p:nvSpPr>
          <p:spPr bwMode="gray">
            <a:xfrm>
              <a:off x="6531229" y="3274212"/>
              <a:ext cx="1523900" cy="954914"/>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srgbClr val="00338D"/>
                </a:solidFill>
                <a:latin typeface="Arial" panose="020B0604020202020204" pitchFamily="34" charset="0"/>
              </a:endParaRPr>
            </a:p>
          </p:txBody>
        </p:sp>
        <p:sp>
          <p:nvSpPr>
            <p:cNvPr id="386" name="Freeform 113">
              <a:extLst>
                <a:ext uri="{FF2B5EF4-FFF2-40B4-BE49-F238E27FC236}">
                  <a16:creationId xmlns:a16="http://schemas.microsoft.com/office/drawing/2014/main" id="{46C555AA-B90B-440E-A0C0-8FDD1E45FCDE}"/>
                </a:ext>
              </a:extLst>
            </p:cNvPr>
            <p:cNvSpPr>
              <a:spLocks noChangeAspect="1"/>
            </p:cNvSpPr>
            <p:nvPr/>
          </p:nvSpPr>
          <p:spPr bwMode="gray">
            <a:xfrm>
              <a:off x="7404941" y="4230877"/>
              <a:ext cx="58960" cy="47031"/>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387" name="Freeform 105">
            <a:extLst>
              <a:ext uri="{FF2B5EF4-FFF2-40B4-BE49-F238E27FC236}">
                <a16:creationId xmlns:a16="http://schemas.microsoft.com/office/drawing/2014/main" id="{EC3C9F54-E50F-42CF-A46E-6E5A6D79158A}"/>
              </a:ext>
            </a:extLst>
          </p:cNvPr>
          <p:cNvSpPr>
            <a:spLocks noChangeAspect="1"/>
          </p:cNvSpPr>
          <p:nvPr/>
        </p:nvSpPr>
        <p:spPr bwMode="gray">
          <a:xfrm>
            <a:off x="7651154" y="4158300"/>
            <a:ext cx="43087" cy="81791"/>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531" name="Rectangle 530">
            <a:extLst>
              <a:ext uri="{FF2B5EF4-FFF2-40B4-BE49-F238E27FC236}">
                <a16:creationId xmlns:a16="http://schemas.microsoft.com/office/drawing/2014/main" id="{C7F19778-A4DB-4E68-8DAF-E88FC09B8B74}"/>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SG" sz="600" dirty="0">
                <a:solidFill>
                  <a:srgbClr val="000000"/>
                </a:solidFill>
                <a:latin typeface="Arial"/>
              </a:rPr>
              <a:t>Source: {</a:t>
            </a:r>
            <a:r>
              <a:rPr lang="en-SG" sz="600" dirty="0" err="1">
                <a:solidFill>
                  <a:srgbClr val="000000"/>
                </a:solidFill>
                <a:latin typeface="Arial"/>
              </a:rPr>
              <a:t>company_name</a:t>
            </a:r>
            <a:r>
              <a:rPr lang="en-SG" sz="600" dirty="0">
                <a:solidFill>
                  <a:srgbClr val="000000"/>
                </a:solidFill>
                <a:latin typeface="Arial"/>
              </a:rPr>
              <a:t>}, </a:t>
            </a:r>
            <a:r>
              <a:rPr lang="en-SG" sz="600">
                <a:solidFill>
                  <a:srgbClr val="000000"/>
                </a:solidFill>
                <a:latin typeface="Arial"/>
              </a:rPr>
              <a:t>website </a:t>
            </a:r>
            <a:r>
              <a:rPr lang="en-SG" sz="600">
                <a:solidFill>
                  <a:srgbClr val="000000"/>
                </a:solidFill>
                <a:latin typeface="Arial"/>
                <a:hlinkClick r:id="rId7"/>
              </a:rPr>
              <a:t>{link}</a:t>
            </a:r>
            <a:r>
              <a:rPr lang="en-SG" sz="600">
                <a:solidFill>
                  <a:srgbClr val="000000"/>
                </a:solidFill>
                <a:latin typeface="Arial"/>
              </a:rPr>
              <a:t>; </a:t>
            </a:r>
            <a:r>
              <a:rPr lang="en-SG" sz="600" dirty="0">
                <a:solidFill>
                  <a:srgbClr val="000000"/>
                </a:solidFill>
                <a:latin typeface="Arial"/>
              </a:rPr>
              <a:t>accessed on {date} </a:t>
            </a:r>
            <a:endParaRPr lang="en-US" sz="600" dirty="0">
              <a:solidFill>
                <a:srgbClr val="00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635B2371-58D5-49E7-BE02-4D13834ED157}"/>
              </a:ext>
            </a:extLst>
          </p:cNvPr>
          <p:cNvSpPr/>
          <p:nvPr/>
        </p:nvSpPr>
        <p:spPr>
          <a:xfrm>
            <a:off x="496262" y="1422400"/>
            <a:ext cx="8937635" cy="4598988"/>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a:solidFill>
                <a:schemeClr val="bg1"/>
              </a:solidFill>
            </a:endParaRPr>
          </a:p>
        </p:txBody>
      </p:sp>
      <p:sp>
        <p:nvSpPr>
          <p:cNvPr id="29" name="Oval 28">
            <a:extLst>
              <a:ext uri="{FF2B5EF4-FFF2-40B4-BE49-F238E27FC236}">
                <a16:creationId xmlns:a16="http://schemas.microsoft.com/office/drawing/2014/main" id="{AEBCA888-C645-26E1-74E9-C4657258EA61}"/>
              </a:ext>
            </a:extLst>
          </p:cNvPr>
          <p:cNvSpPr/>
          <p:nvPr/>
        </p:nvSpPr>
        <p:spPr>
          <a:xfrm>
            <a:off x="7291470" y="4652030"/>
            <a:ext cx="9144" cy="9144"/>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SG" sz="900" dirty="0" err="1">
              <a:solidFill>
                <a:schemeClr val="bg1"/>
              </a:solidFill>
            </a:endParaRPr>
          </a:p>
        </p:txBody>
      </p:sp>
    </p:spTree>
    <p:extLst>
      <p:ext uri="{BB962C8B-B14F-4D97-AF65-F5344CB8AC3E}">
        <p14:creationId xmlns:p14="http://schemas.microsoft.com/office/powerpoint/2010/main" val="2699604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GB" dirty="0"/>
              <a:t>Business segments (1/2)</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US" sz="1000" b="1" i="1" dirty="0">
                <a:solidFill>
                  <a:schemeClr val="tx2"/>
                </a:solidFill>
              </a:rPr>
              <a:t>{</a:t>
            </a:r>
            <a:r>
              <a:rPr lang="en-US" sz="1000" b="1" i="1" dirty="0" err="1">
                <a:solidFill>
                  <a:schemeClr val="tx2"/>
                </a:solidFill>
              </a:rPr>
              <a:t>biz_summary</a:t>
            </a:r>
            <a:r>
              <a:rPr lang="en-US" sz="1000" b="1" i="1" dirty="0">
                <a:solidFill>
                  <a:schemeClr val="tx2"/>
                </a:solidFill>
              </a:rPr>
              <a:t>}</a:t>
            </a:r>
          </a:p>
        </p:txBody>
      </p:sp>
      <p:sp>
        <p:nvSpPr>
          <p:cNvPr id="389" name="Rectangle 388">
            <a:extLst>
              <a:ext uri="{FF2B5EF4-FFF2-40B4-BE49-F238E27FC236}">
                <a16:creationId xmlns:a16="http://schemas.microsoft.com/office/drawing/2014/main" id="{F0791DC6-1C3E-4AAA-81FA-13ACD9698949}"/>
              </a:ext>
            </a:extLst>
          </p:cNvPr>
          <p:cNvSpPr/>
          <p:nvPr/>
        </p:nvSpPr>
        <p:spPr>
          <a:xfrm>
            <a:off x="488805" y="1437689"/>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a:t>
            </a:r>
            <a:r>
              <a:rPr lang="en-US" sz="894" b="1" dirty="0" err="1">
                <a:solidFill>
                  <a:prstClr val="white"/>
                </a:solidFill>
                <a:latin typeface="Arial"/>
              </a:rPr>
              <a:t>brand_name</a:t>
            </a:r>
            <a:r>
              <a:rPr lang="en-US" sz="894" b="1" dirty="0">
                <a:solidFill>
                  <a:prstClr val="white"/>
                </a:solidFill>
                <a:latin typeface="Arial"/>
              </a:rPr>
              <a:t>}</a:t>
            </a:r>
            <a:endParaRPr lang="en-US" sz="894" b="1" dirty="0">
              <a:solidFill>
                <a:schemeClr val="bg1"/>
              </a:solidFill>
              <a:latin typeface="Arial"/>
            </a:endParaRPr>
          </a:p>
        </p:txBody>
      </p:sp>
      <p:sp>
        <p:nvSpPr>
          <p:cNvPr id="391" name="Rectangle 390">
            <a:extLst>
              <a:ext uri="{FF2B5EF4-FFF2-40B4-BE49-F238E27FC236}">
                <a16:creationId xmlns:a16="http://schemas.microsoft.com/office/drawing/2014/main" id="{0D8E81E4-1202-4E04-83C9-4F0E100C11E9}"/>
              </a:ext>
            </a:extLst>
          </p:cNvPr>
          <p:cNvSpPr/>
          <p:nvPr/>
        </p:nvSpPr>
        <p:spPr>
          <a:xfrm>
            <a:off x="5193817" y="2248915"/>
            <a:ext cx="3166288" cy="604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spcAft>
                <a:spcPts val="487"/>
              </a:spcAft>
            </a:pPr>
            <a:endParaRPr lang="en-US" sz="812" dirty="0">
              <a:solidFill>
                <a:schemeClr val="tx1"/>
              </a:solidFill>
            </a:endParaRPr>
          </a:p>
        </p:txBody>
      </p:sp>
      <p:sp>
        <p:nvSpPr>
          <p:cNvPr id="393" name="Rectangle 392">
            <a:extLst>
              <a:ext uri="{FF2B5EF4-FFF2-40B4-BE49-F238E27FC236}">
                <a16:creationId xmlns:a16="http://schemas.microsoft.com/office/drawing/2014/main" id="{C8FB3A27-79C0-46A3-99CC-3975F1EF8C8F}"/>
              </a:ext>
            </a:extLst>
          </p:cNvPr>
          <p:cNvSpPr/>
          <p:nvPr/>
        </p:nvSpPr>
        <p:spPr>
          <a:xfrm>
            <a:off x="534028" y="1681607"/>
            <a:ext cx="4250231" cy="194065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4" name="Rectangle 393">
            <a:extLst>
              <a:ext uri="{FF2B5EF4-FFF2-40B4-BE49-F238E27FC236}">
                <a16:creationId xmlns:a16="http://schemas.microsoft.com/office/drawing/2014/main" id="{4C2A2A6C-DE63-4DED-B3D3-043E380C5EEB}"/>
              </a:ext>
            </a:extLst>
          </p:cNvPr>
          <p:cNvSpPr/>
          <p:nvPr/>
        </p:nvSpPr>
        <p:spPr>
          <a:xfrm>
            <a:off x="534028" y="3961040"/>
            <a:ext cx="4250231" cy="20744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6" name="Trapezoid 395">
            <a:extLst>
              <a:ext uri="{FF2B5EF4-FFF2-40B4-BE49-F238E27FC236}">
                <a16:creationId xmlns:a16="http://schemas.microsoft.com/office/drawing/2014/main" id="{686FA34E-A2E4-4635-AA53-13DA0642CEFC}"/>
              </a:ext>
            </a:extLst>
          </p:cNvPr>
          <p:cNvSpPr/>
          <p:nvPr/>
        </p:nvSpPr>
        <p:spPr>
          <a:xfrm rot="5400000" flipV="1">
            <a:off x="4060308" y="2554295"/>
            <a:ext cx="1956816" cy="182880"/>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7" name="Freeform 31">
            <a:extLst>
              <a:ext uri="{FF2B5EF4-FFF2-40B4-BE49-F238E27FC236}">
                <a16:creationId xmlns:a16="http://schemas.microsoft.com/office/drawing/2014/main" id="{8ABABB7D-FF07-46B8-97A1-C67E5B4F3E8D}"/>
              </a:ext>
            </a:extLst>
          </p:cNvPr>
          <p:cNvSpPr>
            <a:spLocks noEditPoints="1"/>
          </p:cNvSpPr>
          <p:nvPr/>
        </p:nvSpPr>
        <p:spPr bwMode="auto">
          <a:xfrm>
            <a:off x="3835099" y="1751552"/>
            <a:ext cx="185738" cy="185738"/>
          </a:xfrm>
          <a:custGeom>
            <a:avLst/>
            <a:gdLst>
              <a:gd name="T0" fmla="*/ 1207 w 1309"/>
              <a:gd name="T1" fmla="*/ 1361 h 1363"/>
              <a:gd name="T2" fmla="*/ 1253 w 1309"/>
              <a:gd name="T3" fmla="*/ 1341 h 1363"/>
              <a:gd name="T4" fmla="*/ 1287 w 1309"/>
              <a:gd name="T5" fmla="*/ 1307 h 1363"/>
              <a:gd name="T6" fmla="*/ 1307 w 1309"/>
              <a:gd name="T7" fmla="*/ 1260 h 1363"/>
              <a:gd name="T8" fmla="*/ 1309 w 1309"/>
              <a:gd name="T9" fmla="*/ 506 h 1363"/>
              <a:gd name="T10" fmla="*/ 1293 w 1309"/>
              <a:gd name="T11" fmla="*/ 458 h 1363"/>
              <a:gd name="T12" fmla="*/ 1263 w 1309"/>
              <a:gd name="T13" fmla="*/ 421 h 1363"/>
              <a:gd name="T14" fmla="*/ 1219 w 1309"/>
              <a:gd name="T15" fmla="*/ 397 h 1363"/>
              <a:gd name="T16" fmla="*/ 127 w 1309"/>
              <a:gd name="T17" fmla="*/ 391 h 1363"/>
              <a:gd name="T18" fmla="*/ 77 w 1309"/>
              <a:gd name="T19" fmla="*/ 402 h 1363"/>
              <a:gd name="T20" fmla="*/ 38 w 1309"/>
              <a:gd name="T21" fmla="*/ 429 h 1363"/>
              <a:gd name="T22" fmla="*/ 10 w 1309"/>
              <a:gd name="T23" fmla="*/ 469 h 1363"/>
              <a:gd name="T24" fmla="*/ 0 w 1309"/>
              <a:gd name="T25" fmla="*/ 519 h 1363"/>
              <a:gd name="T26" fmla="*/ 6 w 1309"/>
              <a:gd name="T27" fmla="*/ 1274 h 1363"/>
              <a:gd name="T28" fmla="*/ 29 w 1309"/>
              <a:gd name="T29" fmla="*/ 1317 h 1363"/>
              <a:gd name="T30" fmla="*/ 66 w 1309"/>
              <a:gd name="T31" fmla="*/ 1348 h 1363"/>
              <a:gd name="T32" fmla="*/ 114 w 1309"/>
              <a:gd name="T33" fmla="*/ 1362 h 1363"/>
              <a:gd name="T34" fmla="*/ 318 w 1309"/>
              <a:gd name="T35" fmla="*/ 354 h 1363"/>
              <a:gd name="T36" fmla="*/ 347 w 1309"/>
              <a:gd name="T37" fmla="*/ 200 h 1363"/>
              <a:gd name="T38" fmla="*/ 423 w 1309"/>
              <a:gd name="T39" fmla="*/ 88 h 1363"/>
              <a:gd name="T40" fmla="*/ 531 w 1309"/>
              <a:gd name="T41" fmla="*/ 22 h 1363"/>
              <a:gd name="T42" fmla="*/ 655 w 1309"/>
              <a:gd name="T43" fmla="*/ 0 h 1363"/>
              <a:gd name="T44" fmla="*/ 778 w 1309"/>
              <a:gd name="T45" fmla="*/ 22 h 1363"/>
              <a:gd name="T46" fmla="*/ 886 w 1309"/>
              <a:gd name="T47" fmla="*/ 88 h 1363"/>
              <a:gd name="T48" fmla="*/ 962 w 1309"/>
              <a:gd name="T49" fmla="*/ 200 h 1363"/>
              <a:gd name="T50" fmla="*/ 991 w 1309"/>
              <a:gd name="T51" fmla="*/ 354 h 1363"/>
              <a:gd name="T52" fmla="*/ 856 w 1309"/>
              <a:gd name="T53" fmla="*/ 332 h 1363"/>
              <a:gd name="T54" fmla="*/ 831 w 1309"/>
              <a:gd name="T55" fmla="*/ 244 h 1363"/>
              <a:gd name="T56" fmla="*/ 780 w 1309"/>
              <a:gd name="T57" fmla="*/ 182 h 1363"/>
              <a:gd name="T58" fmla="*/ 712 w 1309"/>
              <a:gd name="T59" fmla="*/ 148 h 1363"/>
              <a:gd name="T60" fmla="*/ 637 w 1309"/>
              <a:gd name="T61" fmla="*/ 140 h 1363"/>
              <a:gd name="T62" fmla="*/ 564 w 1309"/>
              <a:gd name="T63" fmla="*/ 161 h 1363"/>
              <a:gd name="T64" fmla="*/ 503 w 1309"/>
              <a:gd name="T65" fmla="*/ 209 h 1363"/>
              <a:gd name="T66" fmla="*/ 462 w 1309"/>
              <a:gd name="T67" fmla="*/ 284 h 1363"/>
              <a:gd name="T68" fmla="*/ 318 w 1309"/>
              <a:gd name="T69" fmla="*/ 359 h 1363"/>
              <a:gd name="T70" fmla="*/ 517 w 1309"/>
              <a:gd name="T71" fmla="*/ 834 h 1363"/>
              <a:gd name="T72" fmla="*/ 696 w 1309"/>
              <a:gd name="T73" fmla="*/ 834 h 1363"/>
              <a:gd name="T74" fmla="*/ 696 w 1309"/>
              <a:gd name="T75" fmla="*/ 1015 h 1363"/>
              <a:gd name="T76" fmla="*/ 611 w 1309"/>
              <a:gd name="T77" fmla="*/ 1088 h 1363"/>
              <a:gd name="T78" fmla="*/ 534 w 1309"/>
              <a:gd name="T79" fmla="*/ 1056 h 1363"/>
              <a:gd name="T80" fmla="*/ 476 w 1309"/>
              <a:gd name="T81" fmla="*/ 998 h 1363"/>
              <a:gd name="T82" fmla="*/ 444 w 1309"/>
              <a:gd name="T83" fmla="*/ 921 h 1363"/>
              <a:gd name="T84" fmla="*/ 444 w 1309"/>
              <a:gd name="T85" fmla="*/ 833 h 1363"/>
              <a:gd name="T86" fmla="*/ 476 w 1309"/>
              <a:gd name="T87" fmla="*/ 757 h 1363"/>
              <a:gd name="T88" fmla="*/ 534 w 1309"/>
              <a:gd name="T89" fmla="*/ 699 h 1363"/>
              <a:gd name="T90" fmla="*/ 611 w 1309"/>
              <a:gd name="T91" fmla="*/ 667 h 1363"/>
              <a:gd name="T92" fmla="*/ 698 w 1309"/>
              <a:gd name="T93" fmla="*/ 667 h 1363"/>
              <a:gd name="T94" fmla="*/ 775 w 1309"/>
              <a:gd name="T95" fmla="*/ 699 h 1363"/>
              <a:gd name="T96" fmla="*/ 833 w 1309"/>
              <a:gd name="T97" fmla="*/ 757 h 1363"/>
              <a:gd name="T98" fmla="*/ 865 w 1309"/>
              <a:gd name="T99" fmla="*/ 833 h 1363"/>
              <a:gd name="T100" fmla="*/ 865 w 1309"/>
              <a:gd name="T101" fmla="*/ 921 h 1363"/>
              <a:gd name="T102" fmla="*/ 833 w 1309"/>
              <a:gd name="T103" fmla="*/ 998 h 1363"/>
              <a:gd name="T104" fmla="*/ 775 w 1309"/>
              <a:gd name="T105" fmla="*/ 1056 h 1363"/>
              <a:gd name="T106" fmla="*/ 698 w 1309"/>
              <a:gd name="T107" fmla="*/ 108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9" h="1363">
                <a:moveTo>
                  <a:pt x="127" y="1363"/>
                </a:moveTo>
                <a:lnTo>
                  <a:pt x="1182" y="1363"/>
                </a:lnTo>
                <a:lnTo>
                  <a:pt x="1194" y="1362"/>
                </a:lnTo>
                <a:lnTo>
                  <a:pt x="1207" y="1361"/>
                </a:lnTo>
                <a:lnTo>
                  <a:pt x="1219" y="1357"/>
                </a:lnTo>
                <a:lnTo>
                  <a:pt x="1231" y="1353"/>
                </a:lnTo>
                <a:lnTo>
                  <a:pt x="1243" y="1348"/>
                </a:lnTo>
                <a:lnTo>
                  <a:pt x="1253" y="1341"/>
                </a:lnTo>
                <a:lnTo>
                  <a:pt x="1263" y="1333"/>
                </a:lnTo>
                <a:lnTo>
                  <a:pt x="1271" y="1325"/>
                </a:lnTo>
                <a:lnTo>
                  <a:pt x="1280" y="1317"/>
                </a:lnTo>
                <a:lnTo>
                  <a:pt x="1287" y="1307"/>
                </a:lnTo>
                <a:lnTo>
                  <a:pt x="1293" y="1296"/>
                </a:lnTo>
                <a:lnTo>
                  <a:pt x="1299" y="1285"/>
                </a:lnTo>
                <a:lnTo>
                  <a:pt x="1303" y="1274"/>
                </a:lnTo>
                <a:lnTo>
                  <a:pt x="1307" y="1260"/>
                </a:lnTo>
                <a:lnTo>
                  <a:pt x="1309" y="1248"/>
                </a:lnTo>
                <a:lnTo>
                  <a:pt x="1309" y="1235"/>
                </a:lnTo>
                <a:lnTo>
                  <a:pt x="1309" y="519"/>
                </a:lnTo>
                <a:lnTo>
                  <a:pt x="1309" y="506"/>
                </a:lnTo>
                <a:lnTo>
                  <a:pt x="1307" y="493"/>
                </a:lnTo>
                <a:lnTo>
                  <a:pt x="1303" y="481"/>
                </a:lnTo>
                <a:lnTo>
                  <a:pt x="1299" y="469"/>
                </a:lnTo>
                <a:lnTo>
                  <a:pt x="1293" y="458"/>
                </a:lnTo>
                <a:lnTo>
                  <a:pt x="1287" y="448"/>
                </a:lnTo>
                <a:lnTo>
                  <a:pt x="1280" y="438"/>
                </a:lnTo>
                <a:lnTo>
                  <a:pt x="1271" y="429"/>
                </a:lnTo>
                <a:lnTo>
                  <a:pt x="1263" y="421"/>
                </a:lnTo>
                <a:lnTo>
                  <a:pt x="1253" y="413"/>
                </a:lnTo>
                <a:lnTo>
                  <a:pt x="1243" y="407"/>
                </a:lnTo>
                <a:lnTo>
                  <a:pt x="1231" y="402"/>
                </a:lnTo>
                <a:lnTo>
                  <a:pt x="1219" y="397"/>
                </a:lnTo>
                <a:lnTo>
                  <a:pt x="1207" y="394"/>
                </a:lnTo>
                <a:lnTo>
                  <a:pt x="1194" y="392"/>
                </a:lnTo>
                <a:lnTo>
                  <a:pt x="1182" y="391"/>
                </a:lnTo>
                <a:lnTo>
                  <a:pt x="127" y="391"/>
                </a:lnTo>
                <a:lnTo>
                  <a:pt x="114" y="392"/>
                </a:lnTo>
                <a:lnTo>
                  <a:pt x="102" y="394"/>
                </a:lnTo>
                <a:lnTo>
                  <a:pt x="90" y="397"/>
                </a:lnTo>
                <a:lnTo>
                  <a:pt x="77" y="402"/>
                </a:lnTo>
                <a:lnTo>
                  <a:pt x="66" y="407"/>
                </a:lnTo>
                <a:lnTo>
                  <a:pt x="56" y="413"/>
                </a:lnTo>
                <a:lnTo>
                  <a:pt x="46" y="421"/>
                </a:lnTo>
                <a:lnTo>
                  <a:pt x="38" y="429"/>
                </a:lnTo>
                <a:lnTo>
                  <a:pt x="29" y="438"/>
                </a:lnTo>
                <a:lnTo>
                  <a:pt x="21" y="448"/>
                </a:lnTo>
                <a:lnTo>
                  <a:pt x="16" y="458"/>
                </a:lnTo>
                <a:lnTo>
                  <a:pt x="10" y="469"/>
                </a:lnTo>
                <a:lnTo>
                  <a:pt x="6" y="481"/>
                </a:lnTo>
                <a:lnTo>
                  <a:pt x="2" y="493"/>
                </a:lnTo>
                <a:lnTo>
                  <a:pt x="0" y="506"/>
                </a:lnTo>
                <a:lnTo>
                  <a:pt x="0" y="519"/>
                </a:lnTo>
                <a:lnTo>
                  <a:pt x="0" y="1235"/>
                </a:lnTo>
                <a:lnTo>
                  <a:pt x="0" y="1248"/>
                </a:lnTo>
                <a:lnTo>
                  <a:pt x="2" y="1260"/>
                </a:lnTo>
                <a:lnTo>
                  <a:pt x="6" y="1274"/>
                </a:lnTo>
                <a:lnTo>
                  <a:pt x="10" y="1285"/>
                </a:lnTo>
                <a:lnTo>
                  <a:pt x="16" y="1296"/>
                </a:lnTo>
                <a:lnTo>
                  <a:pt x="21" y="1307"/>
                </a:lnTo>
                <a:lnTo>
                  <a:pt x="29" y="1317"/>
                </a:lnTo>
                <a:lnTo>
                  <a:pt x="38" y="1325"/>
                </a:lnTo>
                <a:lnTo>
                  <a:pt x="46" y="1333"/>
                </a:lnTo>
                <a:lnTo>
                  <a:pt x="56" y="1341"/>
                </a:lnTo>
                <a:lnTo>
                  <a:pt x="66" y="1348"/>
                </a:lnTo>
                <a:lnTo>
                  <a:pt x="77" y="1353"/>
                </a:lnTo>
                <a:lnTo>
                  <a:pt x="90" y="1357"/>
                </a:lnTo>
                <a:lnTo>
                  <a:pt x="102" y="1361"/>
                </a:lnTo>
                <a:lnTo>
                  <a:pt x="114" y="1362"/>
                </a:lnTo>
                <a:lnTo>
                  <a:pt x="127" y="1363"/>
                </a:lnTo>
                <a:close/>
                <a:moveTo>
                  <a:pt x="318" y="359"/>
                </a:moveTo>
                <a:lnTo>
                  <a:pt x="318" y="357"/>
                </a:lnTo>
                <a:lnTo>
                  <a:pt x="318" y="354"/>
                </a:lnTo>
                <a:lnTo>
                  <a:pt x="319" y="311"/>
                </a:lnTo>
                <a:lnTo>
                  <a:pt x="325" y="272"/>
                </a:lnTo>
                <a:lnTo>
                  <a:pt x="334" y="234"/>
                </a:lnTo>
                <a:lnTo>
                  <a:pt x="347" y="200"/>
                </a:lnTo>
                <a:lnTo>
                  <a:pt x="362" y="168"/>
                </a:lnTo>
                <a:lnTo>
                  <a:pt x="380" y="138"/>
                </a:lnTo>
                <a:lnTo>
                  <a:pt x="400" y="112"/>
                </a:lnTo>
                <a:lnTo>
                  <a:pt x="423" y="88"/>
                </a:lnTo>
                <a:lnTo>
                  <a:pt x="447" y="68"/>
                </a:lnTo>
                <a:lnTo>
                  <a:pt x="474" y="50"/>
                </a:lnTo>
                <a:lnTo>
                  <a:pt x="501" y="34"/>
                </a:lnTo>
                <a:lnTo>
                  <a:pt x="531" y="22"/>
                </a:lnTo>
                <a:lnTo>
                  <a:pt x="561" y="12"/>
                </a:lnTo>
                <a:lnTo>
                  <a:pt x="592" y="6"/>
                </a:lnTo>
                <a:lnTo>
                  <a:pt x="623" y="1"/>
                </a:lnTo>
                <a:lnTo>
                  <a:pt x="655" y="0"/>
                </a:lnTo>
                <a:lnTo>
                  <a:pt x="685" y="1"/>
                </a:lnTo>
                <a:lnTo>
                  <a:pt x="717" y="6"/>
                </a:lnTo>
                <a:lnTo>
                  <a:pt x="748" y="12"/>
                </a:lnTo>
                <a:lnTo>
                  <a:pt x="778" y="22"/>
                </a:lnTo>
                <a:lnTo>
                  <a:pt x="807" y="34"/>
                </a:lnTo>
                <a:lnTo>
                  <a:pt x="835" y="50"/>
                </a:lnTo>
                <a:lnTo>
                  <a:pt x="861" y="68"/>
                </a:lnTo>
                <a:lnTo>
                  <a:pt x="886" y="88"/>
                </a:lnTo>
                <a:lnTo>
                  <a:pt x="908" y="112"/>
                </a:lnTo>
                <a:lnTo>
                  <a:pt x="929" y="138"/>
                </a:lnTo>
                <a:lnTo>
                  <a:pt x="947" y="168"/>
                </a:lnTo>
                <a:lnTo>
                  <a:pt x="962" y="200"/>
                </a:lnTo>
                <a:lnTo>
                  <a:pt x="975" y="234"/>
                </a:lnTo>
                <a:lnTo>
                  <a:pt x="983" y="272"/>
                </a:lnTo>
                <a:lnTo>
                  <a:pt x="989" y="311"/>
                </a:lnTo>
                <a:lnTo>
                  <a:pt x="991" y="354"/>
                </a:lnTo>
                <a:lnTo>
                  <a:pt x="991" y="357"/>
                </a:lnTo>
                <a:lnTo>
                  <a:pt x="991" y="359"/>
                </a:lnTo>
                <a:lnTo>
                  <a:pt x="858" y="359"/>
                </a:lnTo>
                <a:lnTo>
                  <a:pt x="856" y="332"/>
                </a:lnTo>
                <a:lnTo>
                  <a:pt x="853" y="308"/>
                </a:lnTo>
                <a:lnTo>
                  <a:pt x="848" y="285"/>
                </a:lnTo>
                <a:lnTo>
                  <a:pt x="840" y="264"/>
                </a:lnTo>
                <a:lnTo>
                  <a:pt x="831" y="244"/>
                </a:lnTo>
                <a:lnTo>
                  <a:pt x="820" y="226"/>
                </a:lnTo>
                <a:lnTo>
                  <a:pt x="808" y="210"/>
                </a:lnTo>
                <a:lnTo>
                  <a:pt x="795" y="196"/>
                </a:lnTo>
                <a:lnTo>
                  <a:pt x="780" y="182"/>
                </a:lnTo>
                <a:lnTo>
                  <a:pt x="764" y="171"/>
                </a:lnTo>
                <a:lnTo>
                  <a:pt x="747" y="161"/>
                </a:lnTo>
                <a:lnTo>
                  <a:pt x="730" y="154"/>
                </a:lnTo>
                <a:lnTo>
                  <a:pt x="712" y="148"/>
                </a:lnTo>
                <a:lnTo>
                  <a:pt x="693" y="144"/>
                </a:lnTo>
                <a:lnTo>
                  <a:pt x="674" y="141"/>
                </a:lnTo>
                <a:lnTo>
                  <a:pt x="656" y="140"/>
                </a:lnTo>
                <a:lnTo>
                  <a:pt x="637" y="140"/>
                </a:lnTo>
                <a:lnTo>
                  <a:pt x="618" y="144"/>
                </a:lnTo>
                <a:lnTo>
                  <a:pt x="599" y="147"/>
                </a:lnTo>
                <a:lnTo>
                  <a:pt x="582" y="154"/>
                </a:lnTo>
                <a:lnTo>
                  <a:pt x="564" y="161"/>
                </a:lnTo>
                <a:lnTo>
                  <a:pt x="547" y="170"/>
                </a:lnTo>
                <a:lnTo>
                  <a:pt x="532" y="181"/>
                </a:lnTo>
                <a:lnTo>
                  <a:pt x="517" y="194"/>
                </a:lnTo>
                <a:lnTo>
                  <a:pt x="503" y="209"/>
                </a:lnTo>
                <a:lnTo>
                  <a:pt x="490" y="224"/>
                </a:lnTo>
                <a:lnTo>
                  <a:pt x="479" y="243"/>
                </a:lnTo>
                <a:lnTo>
                  <a:pt x="470" y="263"/>
                </a:lnTo>
                <a:lnTo>
                  <a:pt x="462" y="284"/>
                </a:lnTo>
                <a:lnTo>
                  <a:pt x="457" y="307"/>
                </a:lnTo>
                <a:lnTo>
                  <a:pt x="453" y="331"/>
                </a:lnTo>
                <a:lnTo>
                  <a:pt x="451" y="359"/>
                </a:lnTo>
                <a:lnTo>
                  <a:pt x="318" y="359"/>
                </a:lnTo>
                <a:close/>
                <a:moveTo>
                  <a:pt x="613" y="1015"/>
                </a:moveTo>
                <a:lnTo>
                  <a:pt x="613" y="921"/>
                </a:lnTo>
                <a:lnTo>
                  <a:pt x="517" y="921"/>
                </a:lnTo>
                <a:lnTo>
                  <a:pt x="517" y="834"/>
                </a:lnTo>
                <a:lnTo>
                  <a:pt x="613" y="834"/>
                </a:lnTo>
                <a:lnTo>
                  <a:pt x="613" y="740"/>
                </a:lnTo>
                <a:lnTo>
                  <a:pt x="696" y="740"/>
                </a:lnTo>
                <a:lnTo>
                  <a:pt x="696" y="834"/>
                </a:lnTo>
                <a:lnTo>
                  <a:pt x="792" y="834"/>
                </a:lnTo>
                <a:lnTo>
                  <a:pt x="792" y="921"/>
                </a:lnTo>
                <a:lnTo>
                  <a:pt x="696" y="921"/>
                </a:lnTo>
                <a:lnTo>
                  <a:pt x="696" y="1015"/>
                </a:lnTo>
                <a:lnTo>
                  <a:pt x="613" y="1015"/>
                </a:lnTo>
                <a:close/>
                <a:moveTo>
                  <a:pt x="655" y="1093"/>
                </a:moveTo>
                <a:lnTo>
                  <a:pt x="632" y="1092"/>
                </a:lnTo>
                <a:lnTo>
                  <a:pt x="611" y="1088"/>
                </a:lnTo>
                <a:lnTo>
                  <a:pt x="591" y="1083"/>
                </a:lnTo>
                <a:lnTo>
                  <a:pt x="571" y="1076"/>
                </a:lnTo>
                <a:lnTo>
                  <a:pt x="552" y="1066"/>
                </a:lnTo>
                <a:lnTo>
                  <a:pt x="534" y="1056"/>
                </a:lnTo>
                <a:lnTo>
                  <a:pt x="518" y="1043"/>
                </a:lnTo>
                <a:lnTo>
                  <a:pt x="502" y="1030"/>
                </a:lnTo>
                <a:lnTo>
                  <a:pt x="488" y="1014"/>
                </a:lnTo>
                <a:lnTo>
                  <a:pt x="476" y="998"/>
                </a:lnTo>
                <a:lnTo>
                  <a:pt x="465" y="980"/>
                </a:lnTo>
                <a:lnTo>
                  <a:pt x="456" y="961"/>
                </a:lnTo>
                <a:lnTo>
                  <a:pt x="448" y="941"/>
                </a:lnTo>
                <a:lnTo>
                  <a:pt x="444" y="921"/>
                </a:lnTo>
                <a:lnTo>
                  <a:pt x="440" y="900"/>
                </a:lnTo>
                <a:lnTo>
                  <a:pt x="439" y="877"/>
                </a:lnTo>
                <a:lnTo>
                  <a:pt x="440" y="855"/>
                </a:lnTo>
                <a:lnTo>
                  <a:pt x="444" y="833"/>
                </a:lnTo>
                <a:lnTo>
                  <a:pt x="448" y="813"/>
                </a:lnTo>
                <a:lnTo>
                  <a:pt x="456" y="794"/>
                </a:lnTo>
                <a:lnTo>
                  <a:pt x="465" y="775"/>
                </a:lnTo>
                <a:lnTo>
                  <a:pt x="476" y="757"/>
                </a:lnTo>
                <a:lnTo>
                  <a:pt x="488" y="741"/>
                </a:lnTo>
                <a:lnTo>
                  <a:pt x="502" y="725"/>
                </a:lnTo>
                <a:lnTo>
                  <a:pt x="518" y="711"/>
                </a:lnTo>
                <a:lnTo>
                  <a:pt x="534" y="699"/>
                </a:lnTo>
                <a:lnTo>
                  <a:pt x="552" y="688"/>
                </a:lnTo>
                <a:lnTo>
                  <a:pt x="571" y="679"/>
                </a:lnTo>
                <a:lnTo>
                  <a:pt x="591" y="671"/>
                </a:lnTo>
                <a:lnTo>
                  <a:pt x="611" y="667"/>
                </a:lnTo>
                <a:lnTo>
                  <a:pt x="632" y="663"/>
                </a:lnTo>
                <a:lnTo>
                  <a:pt x="655" y="662"/>
                </a:lnTo>
                <a:lnTo>
                  <a:pt x="677" y="663"/>
                </a:lnTo>
                <a:lnTo>
                  <a:pt x="698" y="667"/>
                </a:lnTo>
                <a:lnTo>
                  <a:pt x="719" y="671"/>
                </a:lnTo>
                <a:lnTo>
                  <a:pt x="738" y="679"/>
                </a:lnTo>
                <a:lnTo>
                  <a:pt x="757" y="688"/>
                </a:lnTo>
                <a:lnTo>
                  <a:pt x="775" y="699"/>
                </a:lnTo>
                <a:lnTo>
                  <a:pt x="791" y="711"/>
                </a:lnTo>
                <a:lnTo>
                  <a:pt x="807" y="725"/>
                </a:lnTo>
                <a:lnTo>
                  <a:pt x="820" y="741"/>
                </a:lnTo>
                <a:lnTo>
                  <a:pt x="833" y="757"/>
                </a:lnTo>
                <a:lnTo>
                  <a:pt x="844" y="775"/>
                </a:lnTo>
                <a:lnTo>
                  <a:pt x="853" y="794"/>
                </a:lnTo>
                <a:lnTo>
                  <a:pt x="860" y="813"/>
                </a:lnTo>
                <a:lnTo>
                  <a:pt x="865" y="833"/>
                </a:lnTo>
                <a:lnTo>
                  <a:pt x="869" y="855"/>
                </a:lnTo>
                <a:lnTo>
                  <a:pt x="870" y="877"/>
                </a:lnTo>
                <a:lnTo>
                  <a:pt x="869" y="900"/>
                </a:lnTo>
                <a:lnTo>
                  <a:pt x="865" y="921"/>
                </a:lnTo>
                <a:lnTo>
                  <a:pt x="860" y="941"/>
                </a:lnTo>
                <a:lnTo>
                  <a:pt x="853" y="961"/>
                </a:lnTo>
                <a:lnTo>
                  <a:pt x="844" y="980"/>
                </a:lnTo>
                <a:lnTo>
                  <a:pt x="833" y="998"/>
                </a:lnTo>
                <a:lnTo>
                  <a:pt x="820" y="1014"/>
                </a:lnTo>
                <a:lnTo>
                  <a:pt x="807" y="1030"/>
                </a:lnTo>
                <a:lnTo>
                  <a:pt x="791" y="1043"/>
                </a:lnTo>
                <a:lnTo>
                  <a:pt x="775" y="1056"/>
                </a:lnTo>
                <a:lnTo>
                  <a:pt x="757" y="1066"/>
                </a:lnTo>
                <a:lnTo>
                  <a:pt x="738" y="1076"/>
                </a:lnTo>
                <a:lnTo>
                  <a:pt x="719" y="1083"/>
                </a:lnTo>
                <a:lnTo>
                  <a:pt x="698" y="1088"/>
                </a:lnTo>
                <a:lnTo>
                  <a:pt x="677" y="1092"/>
                </a:lnTo>
                <a:lnTo>
                  <a:pt x="655" y="1093"/>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2" dirty="0"/>
          </a:p>
        </p:txBody>
      </p:sp>
      <p:pic>
        <p:nvPicPr>
          <p:cNvPr id="7185" name="Picture 17">
            <a:extLst>
              <a:ext uri="{FF2B5EF4-FFF2-40B4-BE49-F238E27FC236}">
                <a16:creationId xmlns:a16="http://schemas.microsoft.com/office/drawing/2014/main" id="{64082D96-5159-4D75-ABB2-CCFC4E06B20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4212" b="32978"/>
          <a:stretch/>
        </p:blipFill>
        <p:spPr bwMode="auto">
          <a:xfrm>
            <a:off x="5193816" y="2315080"/>
            <a:ext cx="821093" cy="216055"/>
          </a:xfrm>
          <a:prstGeom prst="rect">
            <a:avLst/>
          </a:prstGeom>
          <a:noFill/>
          <a:extLst>
            <a:ext uri="{909E8E84-426E-40DD-AFC4-6F175D3DCCD1}">
              <a14:hiddenFill xmlns:a14="http://schemas.microsoft.com/office/drawing/2010/main">
                <a:solidFill>
                  <a:srgbClr val="FFFFFF"/>
                </a:solidFill>
              </a14:hiddenFill>
            </a:ext>
          </a:extLst>
        </p:spPr>
      </p:pic>
      <p:pic>
        <p:nvPicPr>
          <p:cNvPr id="7189" name="Picture 21">
            <a:extLst>
              <a:ext uri="{FF2B5EF4-FFF2-40B4-BE49-F238E27FC236}">
                <a16:creationId xmlns:a16="http://schemas.microsoft.com/office/drawing/2014/main" id="{4ED8274F-72FE-4B71-BF9F-57BD83A0B2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91689" y="2102525"/>
            <a:ext cx="610306" cy="48946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9E3CFFD-0586-466C-9C38-12EBCE1CC4C7}"/>
              </a:ext>
            </a:extLst>
          </p:cNvPr>
          <p:cNvPicPr>
            <a:picLocks noChangeAspect="1"/>
          </p:cNvPicPr>
          <p:nvPr/>
        </p:nvPicPr>
        <p:blipFill rotWithShape="1">
          <a:blip r:embed="rId9"/>
          <a:srcRect l="23761" t="10455" r="22480" b="8813"/>
          <a:stretch/>
        </p:blipFill>
        <p:spPr>
          <a:xfrm>
            <a:off x="5376780" y="2840322"/>
            <a:ext cx="610306" cy="575037"/>
          </a:xfrm>
          <a:prstGeom prst="rect">
            <a:avLst/>
          </a:prstGeom>
        </p:spPr>
      </p:pic>
      <p:pic>
        <p:nvPicPr>
          <p:cNvPr id="5" name="Picture 4">
            <a:extLst>
              <a:ext uri="{FF2B5EF4-FFF2-40B4-BE49-F238E27FC236}">
                <a16:creationId xmlns:a16="http://schemas.microsoft.com/office/drawing/2014/main" id="{5FCDD871-6F30-4216-924B-BA2F0883D10A}"/>
              </a:ext>
            </a:extLst>
          </p:cNvPr>
          <p:cNvPicPr>
            <a:picLocks noChangeAspect="1"/>
          </p:cNvPicPr>
          <p:nvPr/>
        </p:nvPicPr>
        <p:blipFill rotWithShape="1">
          <a:blip r:embed="rId10"/>
          <a:srcRect l="10756" r="12992" b="23439"/>
          <a:stretch/>
        </p:blipFill>
        <p:spPr>
          <a:xfrm>
            <a:off x="6383720" y="2901808"/>
            <a:ext cx="610306" cy="448399"/>
          </a:xfrm>
          <a:prstGeom prst="rect">
            <a:avLst/>
          </a:prstGeom>
        </p:spPr>
      </p:pic>
      <p:pic>
        <p:nvPicPr>
          <p:cNvPr id="6" name="Picture 5">
            <a:extLst>
              <a:ext uri="{FF2B5EF4-FFF2-40B4-BE49-F238E27FC236}">
                <a16:creationId xmlns:a16="http://schemas.microsoft.com/office/drawing/2014/main" id="{A53FFEE1-86A6-4599-ADC3-5C9CD685D691}"/>
              </a:ext>
            </a:extLst>
          </p:cNvPr>
          <p:cNvPicPr>
            <a:picLocks noChangeAspect="1"/>
          </p:cNvPicPr>
          <p:nvPr/>
        </p:nvPicPr>
        <p:blipFill rotWithShape="1">
          <a:blip r:embed="rId11"/>
          <a:srcRect t="37286" b="39646"/>
          <a:stretch/>
        </p:blipFill>
        <p:spPr>
          <a:xfrm>
            <a:off x="7893171" y="2097470"/>
            <a:ext cx="1397951" cy="258627"/>
          </a:xfrm>
          <a:prstGeom prst="rect">
            <a:avLst/>
          </a:prstGeom>
        </p:spPr>
      </p:pic>
      <p:pic>
        <p:nvPicPr>
          <p:cNvPr id="8" name="Picture 7">
            <a:extLst>
              <a:ext uri="{FF2B5EF4-FFF2-40B4-BE49-F238E27FC236}">
                <a16:creationId xmlns:a16="http://schemas.microsoft.com/office/drawing/2014/main" id="{106682FB-1DD6-4F5E-91E1-41D2412F235A}"/>
              </a:ext>
            </a:extLst>
          </p:cNvPr>
          <p:cNvPicPr>
            <a:picLocks noChangeAspect="1"/>
          </p:cNvPicPr>
          <p:nvPr/>
        </p:nvPicPr>
        <p:blipFill rotWithShape="1">
          <a:blip r:embed="rId12"/>
          <a:srcRect l="14717" t="20058" r="14902" b="41255"/>
          <a:stretch/>
        </p:blipFill>
        <p:spPr>
          <a:xfrm>
            <a:off x="7277422" y="2904593"/>
            <a:ext cx="571990" cy="269765"/>
          </a:xfrm>
          <a:prstGeom prst="rect">
            <a:avLst/>
          </a:prstGeom>
        </p:spPr>
      </p:pic>
      <p:pic>
        <p:nvPicPr>
          <p:cNvPr id="9" name="Picture 8">
            <a:extLst>
              <a:ext uri="{FF2B5EF4-FFF2-40B4-BE49-F238E27FC236}">
                <a16:creationId xmlns:a16="http://schemas.microsoft.com/office/drawing/2014/main" id="{DD0EA1BB-3455-463E-A68A-B82126752EF5}"/>
              </a:ext>
            </a:extLst>
          </p:cNvPr>
          <p:cNvPicPr>
            <a:picLocks noChangeAspect="1"/>
          </p:cNvPicPr>
          <p:nvPr/>
        </p:nvPicPr>
        <p:blipFill rotWithShape="1">
          <a:blip r:embed="rId13"/>
          <a:srcRect t="39061" b="39743"/>
          <a:stretch/>
        </p:blipFill>
        <p:spPr>
          <a:xfrm>
            <a:off x="8018456" y="2663263"/>
            <a:ext cx="1079933" cy="183585"/>
          </a:xfrm>
          <a:prstGeom prst="rect">
            <a:avLst/>
          </a:prstGeom>
        </p:spPr>
      </p:pic>
      <p:pic>
        <p:nvPicPr>
          <p:cNvPr id="11" name="Picture 10">
            <a:extLst>
              <a:ext uri="{FF2B5EF4-FFF2-40B4-BE49-F238E27FC236}">
                <a16:creationId xmlns:a16="http://schemas.microsoft.com/office/drawing/2014/main" id="{171615F9-D3C6-4FD5-A0E0-A78EB8B6C377}"/>
              </a:ext>
            </a:extLst>
          </p:cNvPr>
          <p:cNvPicPr>
            <a:picLocks noChangeAspect="1"/>
          </p:cNvPicPr>
          <p:nvPr/>
        </p:nvPicPr>
        <p:blipFill rotWithShape="1">
          <a:blip r:embed="rId14"/>
          <a:srcRect l="16879" t="24866" r="16638" b="33768"/>
          <a:stretch/>
        </p:blipFill>
        <p:spPr>
          <a:xfrm>
            <a:off x="7231041" y="2263534"/>
            <a:ext cx="488973" cy="243998"/>
          </a:xfrm>
          <a:prstGeom prst="rect">
            <a:avLst/>
          </a:prstGeom>
        </p:spPr>
      </p:pic>
      <p:sp>
        <p:nvSpPr>
          <p:cNvPr id="7" name="TextBox 6">
            <a:extLst>
              <a:ext uri="{FF2B5EF4-FFF2-40B4-BE49-F238E27FC236}">
                <a16:creationId xmlns:a16="http://schemas.microsoft.com/office/drawing/2014/main" id="{8D022106-54D9-40FC-8B1E-E65A9C248F91}"/>
              </a:ext>
            </a:extLst>
          </p:cNvPr>
          <p:cNvSpPr txBox="1"/>
          <p:nvPr/>
        </p:nvSpPr>
        <p:spPr>
          <a:xfrm>
            <a:off x="650138" y="1991727"/>
            <a:ext cx="4134120" cy="1513911"/>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brand_desc</a:t>
            </a:r>
            <a:r>
              <a:rPr lang="en-US" sz="1000" dirty="0"/>
              <a:t>}</a:t>
            </a:r>
          </a:p>
        </p:txBody>
      </p:sp>
      <p:sp>
        <p:nvSpPr>
          <p:cNvPr id="33" name="Rectangle: Rounded Corners 32">
            <a:extLst>
              <a:ext uri="{FF2B5EF4-FFF2-40B4-BE49-F238E27FC236}">
                <a16:creationId xmlns:a16="http://schemas.microsoft.com/office/drawing/2014/main" id="{6F5EB750-0F00-41D2-BC73-E399F2BA45D1}"/>
              </a:ext>
            </a:extLst>
          </p:cNvPr>
          <p:cNvSpPr/>
          <p:nvPr/>
        </p:nvSpPr>
        <p:spPr>
          <a:xfrm>
            <a:off x="614072" y="1762585"/>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Overview</a:t>
            </a:r>
          </a:p>
        </p:txBody>
      </p:sp>
      <p:sp>
        <p:nvSpPr>
          <p:cNvPr id="47" name="TextBox 46">
            <a:extLst>
              <a:ext uri="{FF2B5EF4-FFF2-40B4-BE49-F238E27FC236}">
                <a16:creationId xmlns:a16="http://schemas.microsoft.com/office/drawing/2014/main" id="{2CFE3823-6E64-40E8-8F34-DF895F75E709}"/>
              </a:ext>
            </a:extLst>
          </p:cNvPr>
          <p:cNvSpPr txBox="1"/>
          <p:nvPr/>
        </p:nvSpPr>
        <p:spPr>
          <a:xfrm>
            <a:off x="628168" y="4258260"/>
            <a:ext cx="4114800" cy="1777186"/>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brand_desc</a:t>
            </a:r>
            <a:r>
              <a:rPr lang="en-US" sz="1000" dirty="0"/>
              <a:t>}</a:t>
            </a:r>
          </a:p>
        </p:txBody>
      </p:sp>
      <p:pic>
        <p:nvPicPr>
          <p:cNvPr id="48" name="Picture 47">
            <a:extLst>
              <a:ext uri="{FF2B5EF4-FFF2-40B4-BE49-F238E27FC236}">
                <a16:creationId xmlns:a16="http://schemas.microsoft.com/office/drawing/2014/main" id="{26287126-47FE-4FBD-9136-A48B7693735C}"/>
              </a:ext>
            </a:extLst>
          </p:cNvPr>
          <p:cNvPicPr>
            <a:picLocks noChangeAspect="1"/>
          </p:cNvPicPr>
          <p:nvPr/>
        </p:nvPicPr>
        <p:blipFill rotWithShape="1">
          <a:blip r:embed="rId15"/>
          <a:srcRect l="24322" t="11418" r="23347" b="8640"/>
          <a:stretch/>
        </p:blipFill>
        <p:spPr>
          <a:xfrm>
            <a:off x="5591018" y="4292540"/>
            <a:ext cx="423828" cy="555211"/>
          </a:xfrm>
          <a:prstGeom prst="rect">
            <a:avLst/>
          </a:prstGeom>
        </p:spPr>
      </p:pic>
      <p:pic>
        <p:nvPicPr>
          <p:cNvPr id="49" name="Picture 48">
            <a:extLst>
              <a:ext uri="{FF2B5EF4-FFF2-40B4-BE49-F238E27FC236}">
                <a16:creationId xmlns:a16="http://schemas.microsoft.com/office/drawing/2014/main" id="{211C5224-FA32-4899-8DF4-66E864EA4B34}"/>
              </a:ext>
            </a:extLst>
          </p:cNvPr>
          <p:cNvPicPr>
            <a:picLocks noChangeAspect="1"/>
          </p:cNvPicPr>
          <p:nvPr/>
        </p:nvPicPr>
        <p:blipFill rotWithShape="1">
          <a:blip r:embed="rId16"/>
          <a:srcRect l="22326" t="15328" r="21820" b="11063"/>
          <a:stretch/>
        </p:blipFill>
        <p:spPr>
          <a:xfrm>
            <a:off x="7962651" y="4686705"/>
            <a:ext cx="445418" cy="587028"/>
          </a:xfrm>
          <a:prstGeom prst="rect">
            <a:avLst/>
          </a:prstGeom>
        </p:spPr>
      </p:pic>
      <p:pic>
        <p:nvPicPr>
          <p:cNvPr id="50" name="Picture 49">
            <a:extLst>
              <a:ext uri="{FF2B5EF4-FFF2-40B4-BE49-F238E27FC236}">
                <a16:creationId xmlns:a16="http://schemas.microsoft.com/office/drawing/2014/main" id="{2FF38AED-522F-4B16-A9E9-160D7904EFA2}"/>
              </a:ext>
            </a:extLst>
          </p:cNvPr>
          <p:cNvPicPr>
            <a:picLocks noChangeAspect="1"/>
          </p:cNvPicPr>
          <p:nvPr/>
        </p:nvPicPr>
        <p:blipFill rotWithShape="1">
          <a:blip r:embed="rId17"/>
          <a:srcRect l="30958" t="19084" r="28301" b="14277"/>
          <a:stretch/>
        </p:blipFill>
        <p:spPr>
          <a:xfrm>
            <a:off x="6382727" y="5245546"/>
            <a:ext cx="348947" cy="489462"/>
          </a:xfrm>
          <a:prstGeom prst="rect">
            <a:avLst/>
          </a:prstGeom>
        </p:spPr>
      </p:pic>
      <p:pic>
        <p:nvPicPr>
          <p:cNvPr id="51" name="Picture 50">
            <a:extLst>
              <a:ext uri="{FF2B5EF4-FFF2-40B4-BE49-F238E27FC236}">
                <a16:creationId xmlns:a16="http://schemas.microsoft.com/office/drawing/2014/main" id="{7C1C69AE-E07E-4FB2-B81E-74B82FB98D30}"/>
              </a:ext>
            </a:extLst>
          </p:cNvPr>
          <p:cNvPicPr>
            <a:picLocks noChangeAspect="1"/>
          </p:cNvPicPr>
          <p:nvPr/>
        </p:nvPicPr>
        <p:blipFill rotWithShape="1">
          <a:blip r:embed="rId18"/>
          <a:srcRect l="24163" t="11051" r="23880" b="7903"/>
          <a:stretch/>
        </p:blipFill>
        <p:spPr>
          <a:xfrm>
            <a:off x="6349003" y="4476343"/>
            <a:ext cx="414119" cy="555212"/>
          </a:xfrm>
          <a:prstGeom prst="rect">
            <a:avLst/>
          </a:prstGeom>
        </p:spPr>
      </p:pic>
      <p:pic>
        <p:nvPicPr>
          <p:cNvPr id="52" name="Picture 51">
            <a:extLst>
              <a:ext uri="{FF2B5EF4-FFF2-40B4-BE49-F238E27FC236}">
                <a16:creationId xmlns:a16="http://schemas.microsoft.com/office/drawing/2014/main" id="{D5A6BC38-2BC7-4640-B04F-98F3161367A4}"/>
              </a:ext>
            </a:extLst>
          </p:cNvPr>
          <p:cNvPicPr>
            <a:picLocks noChangeAspect="1"/>
          </p:cNvPicPr>
          <p:nvPr/>
        </p:nvPicPr>
        <p:blipFill rotWithShape="1">
          <a:blip r:embed="rId19"/>
          <a:srcRect l="25664" t="14814" r="26799" b="11532"/>
          <a:stretch/>
        </p:blipFill>
        <p:spPr>
          <a:xfrm>
            <a:off x="8578518" y="5121980"/>
            <a:ext cx="472508" cy="627905"/>
          </a:xfrm>
          <a:prstGeom prst="rect">
            <a:avLst/>
          </a:prstGeom>
        </p:spPr>
      </p:pic>
      <p:pic>
        <p:nvPicPr>
          <p:cNvPr id="53" name="Picture 52">
            <a:extLst>
              <a:ext uri="{FF2B5EF4-FFF2-40B4-BE49-F238E27FC236}">
                <a16:creationId xmlns:a16="http://schemas.microsoft.com/office/drawing/2014/main" id="{73A31A21-F95E-4B94-AACC-3E6939529D7E}"/>
              </a:ext>
            </a:extLst>
          </p:cNvPr>
          <p:cNvPicPr>
            <a:picLocks noChangeAspect="1"/>
          </p:cNvPicPr>
          <p:nvPr/>
        </p:nvPicPr>
        <p:blipFill rotWithShape="1">
          <a:blip r:embed="rId20"/>
          <a:srcRect l="24130" t="12170" r="25666" b="10297"/>
          <a:stretch/>
        </p:blipFill>
        <p:spPr>
          <a:xfrm>
            <a:off x="7345671" y="5085496"/>
            <a:ext cx="467318" cy="619176"/>
          </a:xfrm>
          <a:prstGeom prst="rect">
            <a:avLst/>
          </a:prstGeom>
        </p:spPr>
      </p:pic>
      <p:pic>
        <p:nvPicPr>
          <p:cNvPr id="54" name="Picture 53">
            <a:extLst>
              <a:ext uri="{FF2B5EF4-FFF2-40B4-BE49-F238E27FC236}">
                <a16:creationId xmlns:a16="http://schemas.microsoft.com/office/drawing/2014/main" id="{8309EDB9-03A2-4E85-AA9D-E26950D58DB7}"/>
              </a:ext>
            </a:extLst>
          </p:cNvPr>
          <p:cNvPicPr>
            <a:picLocks noChangeAspect="1"/>
          </p:cNvPicPr>
          <p:nvPr/>
        </p:nvPicPr>
        <p:blipFill rotWithShape="1">
          <a:blip r:embed="rId21"/>
          <a:srcRect l="19951" t="26939" r="19003" b="29725"/>
          <a:stretch/>
        </p:blipFill>
        <p:spPr>
          <a:xfrm>
            <a:off x="7214084" y="4449496"/>
            <a:ext cx="423828" cy="259691"/>
          </a:xfrm>
          <a:prstGeom prst="rect">
            <a:avLst/>
          </a:prstGeom>
        </p:spPr>
      </p:pic>
      <p:pic>
        <p:nvPicPr>
          <p:cNvPr id="55" name="Picture 54">
            <a:extLst>
              <a:ext uri="{FF2B5EF4-FFF2-40B4-BE49-F238E27FC236}">
                <a16:creationId xmlns:a16="http://schemas.microsoft.com/office/drawing/2014/main" id="{7A61A39C-5D1D-4CF0-947D-4CE83CB5AE7B}"/>
              </a:ext>
            </a:extLst>
          </p:cNvPr>
          <p:cNvPicPr>
            <a:picLocks noChangeAspect="1"/>
          </p:cNvPicPr>
          <p:nvPr/>
        </p:nvPicPr>
        <p:blipFill rotWithShape="1">
          <a:blip r:embed="rId22"/>
          <a:srcRect l="19059" t="16193" r="19803" b="12710"/>
          <a:stretch/>
        </p:blipFill>
        <p:spPr>
          <a:xfrm>
            <a:off x="5367486" y="5051494"/>
            <a:ext cx="597234" cy="500698"/>
          </a:xfrm>
          <a:prstGeom prst="rect">
            <a:avLst/>
          </a:prstGeom>
        </p:spPr>
      </p:pic>
      <p:pic>
        <p:nvPicPr>
          <p:cNvPr id="56" name="Picture 55">
            <a:extLst>
              <a:ext uri="{FF2B5EF4-FFF2-40B4-BE49-F238E27FC236}">
                <a16:creationId xmlns:a16="http://schemas.microsoft.com/office/drawing/2014/main" id="{41121BD6-5D12-4BC8-9691-00EB9EE2FCCC}"/>
              </a:ext>
            </a:extLst>
          </p:cNvPr>
          <p:cNvPicPr>
            <a:picLocks noChangeAspect="1"/>
          </p:cNvPicPr>
          <p:nvPr/>
        </p:nvPicPr>
        <p:blipFill rotWithShape="1">
          <a:blip r:embed="rId23"/>
          <a:srcRect l="13277" t="15686" r="9416" b="13248"/>
          <a:stretch/>
        </p:blipFill>
        <p:spPr>
          <a:xfrm>
            <a:off x="8686301" y="4386340"/>
            <a:ext cx="552901" cy="367608"/>
          </a:xfrm>
          <a:prstGeom prst="rect">
            <a:avLst/>
          </a:prstGeom>
        </p:spPr>
      </p:pic>
      <p:sp>
        <p:nvSpPr>
          <p:cNvPr id="57" name="Rectangle: Rounded Corners 56">
            <a:extLst>
              <a:ext uri="{FF2B5EF4-FFF2-40B4-BE49-F238E27FC236}">
                <a16:creationId xmlns:a16="http://schemas.microsoft.com/office/drawing/2014/main" id="{F5B1EE11-E153-4006-AF8D-41E11A053385}"/>
              </a:ext>
            </a:extLst>
          </p:cNvPr>
          <p:cNvSpPr/>
          <p:nvPr/>
        </p:nvSpPr>
        <p:spPr>
          <a:xfrm>
            <a:off x="628168" y="4036406"/>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Overview</a:t>
            </a:r>
          </a:p>
        </p:txBody>
      </p:sp>
      <p:sp>
        <p:nvSpPr>
          <p:cNvPr id="59" name="Rectangle 58">
            <a:extLst>
              <a:ext uri="{FF2B5EF4-FFF2-40B4-BE49-F238E27FC236}">
                <a16:creationId xmlns:a16="http://schemas.microsoft.com/office/drawing/2014/main" id="{30EBC64A-9E4B-4BB6-B571-41FEA287DBFF}"/>
              </a:ext>
            </a:extLst>
          </p:cNvPr>
          <p:cNvSpPr/>
          <p:nvPr/>
        </p:nvSpPr>
        <p:spPr>
          <a:xfrm>
            <a:off x="490455" y="3700211"/>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a:t>
            </a:r>
            <a:r>
              <a:rPr lang="en-US" sz="894" b="1" dirty="0" err="1">
                <a:solidFill>
                  <a:prstClr val="white"/>
                </a:solidFill>
                <a:latin typeface="Arial"/>
              </a:rPr>
              <a:t>brand_name</a:t>
            </a:r>
            <a:r>
              <a:rPr lang="en-US" sz="894" b="1" dirty="0">
                <a:solidFill>
                  <a:prstClr val="white"/>
                </a:solidFill>
                <a:latin typeface="Arial"/>
              </a:rPr>
              <a:t>}</a:t>
            </a:r>
            <a:endParaRPr lang="en-US" sz="894" b="1" dirty="0">
              <a:solidFill>
                <a:schemeClr val="bg1"/>
              </a:solidFill>
              <a:latin typeface="Arial"/>
            </a:endParaRPr>
          </a:p>
        </p:txBody>
      </p:sp>
      <p:sp>
        <p:nvSpPr>
          <p:cNvPr id="65" name="Rectangle: Rounded Corners 64">
            <a:extLst>
              <a:ext uri="{FF2B5EF4-FFF2-40B4-BE49-F238E27FC236}">
                <a16:creationId xmlns:a16="http://schemas.microsoft.com/office/drawing/2014/main" id="{789F014D-0DB3-4609-ACD7-365BC9A635A7}"/>
              </a:ext>
            </a:extLst>
          </p:cNvPr>
          <p:cNvSpPr/>
          <p:nvPr/>
        </p:nvSpPr>
        <p:spPr>
          <a:xfrm>
            <a:off x="5231792" y="4031273"/>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Product line</a:t>
            </a:r>
          </a:p>
        </p:txBody>
      </p:sp>
      <p:sp>
        <p:nvSpPr>
          <p:cNvPr id="66" name="Rectangle: Rounded Corners 65">
            <a:extLst>
              <a:ext uri="{FF2B5EF4-FFF2-40B4-BE49-F238E27FC236}">
                <a16:creationId xmlns:a16="http://schemas.microsoft.com/office/drawing/2014/main" id="{895ECFE7-92E6-4566-B606-17D39A51EF1F}"/>
              </a:ext>
            </a:extLst>
          </p:cNvPr>
          <p:cNvSpPr/>
          <p:nvPr/>
        </p:nvSpPr>
        <p:spPr>
          <a:xfrm>
            <a:off x="5184466" y="1772608"/>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Investment portfolio</a:t>
            </a:r>
          </a:p>
        </p:txBody>
      </p:sp>
      <p:sp>
        <p:nvSpPr>
          <p:cNvPr id="67" name="Trapezoid 66">
            <a:extLst>
              <a:ext uri="{FF2B5EF4-FFF2-40B4-BE49-F238E27FC236}">
                <a16:creationId xmlns:a16="http://schemas.microsoft.com/office/drawing/2014/main" id="{0FA12E94-27D6-4578-8BDB-B317195F08FF}"/>
              </a:ext>
            </a:extLst>
          </p:cNvPr>
          <p:cNvSpPr/>
          <p:nvPr/>
        </p:nvSpPr>
        <p:spPr>
          <a:xfrm rot="5400000" flipV="1">
            <a:off x="4008684" y="4902597"/>
            <a:ext cx="2103121"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2" name="Rectangle 41">
            <a:extLst>
              <a:ext uri="{FF2B5EF4-FFF2-40B4-BE49-F238E27FC236}">
                <a16:creationId xmlns:a16="http://schemas.microsoft.com/office/drawing/2014/main" id="{F4F00B44-4575-443E-B479-240294527146}"/>
              </a:ext>
            </a:extLst>
          </p:cNvPr>
          <p:cNvSpPr/>
          <p:nvPr/>
        </p:nvSpPr>
        <p:spPr>
          <a:xfrm>
            <a:off x="5136508" y="1673987"/>
            <a:ext cx="4240758" cy="194065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3" name="Rectangle 42">
            <a:extLst>
              <a:ext uri="{FF2B5EF4-FFF2-40B4-BE49-F238E27FC236}">
                <a16:creationId xmlns:a16="http://schemas.microsoft.com/office/drawing/2014/main" id="{F7B66D00-522D-4882-83EB-C02B24098D4C}"/>
              </a:ext>
            </a:extLst>
          </p:cNvPr>
          <p:cNvSpPr/>
          <p:nvPr/>
        </p:nvSpPr>
        <p:spPr>
          <a:xfrm>
            <a:off x="5151749" y="3945799"/>
            <a:ext cx="4220226" cy="20744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4" name="Rectangle 43">
            <a:extLst>
              <a:ext uri="{FF2B5EF4-FFF2-40B4-BE49-F238E27FC236}">
                <a16:creationId xmlns:a16="http://schemas.microsoft.com/office/drawing/2014/main" id="{9037A740-F436-4A7C-8C15-F3548868C8E6}"/>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 &lt;Please fill in sources and links, Format: sources, link;&gt;</a:t>
            </a:r>
            <a:r>
              <a:rPr lang="en-US" sz="600" dirty="0">
                <a:solidFill>
                  <a:schemeClr val="tx1"/>
                </a:solidFill>
                <a:latin typeface="Arial" panose="020B0604020202020204" pitchFamily="34" charset="0"/>
                <a:cs typeface="Arial" panose="020B0604020202020204" pitchFamily="34" charset="0"/>
              </a:rPr>
              <a:t>; all accessed on {date}</a:t>
            </a:r>
            <a:endParaRPr lang="en-US" sz="600" dirty="0">
              <a:solidFill>
                <a:srgbClr val="000000"/>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10403363-D306-49CF-BA1D-EE8CAC9F5596}"/>
              </a:ext>
            </a:extLst>
          </p:cNvPr>
          <p:cNvPicPr>
            <a:picLocks noChangeAspect="1"/>
          </p:cNvPicPr>
          <p:nvPr/>
        </p:nvPicPr>
        <p:blipFill rotWithShape="1">
          <a:blip r:embed="rId24"/>
          <a:srcRect t="35453" b="37113"/>
          <a:stretch/>
        </p:blipFill>
        <p:spPr>
          <a:xfrm>
            <a:off x="8080329" y="3138097"/>
            <a:ext cx="901700" cy="247374"/>
          </a:xfrm>
          <a:prstGeom prst="rect">
            <a:avLst/>
          </a:prstGeom>
        </p:spPr>
      </p:pic>
    </p:spTree>
    <p:extLst>
      <p:ext uri="{BB962C8B-B14F-4D97-AF65-F5344CB8AC3E}">
        <p14:creationId xmlns:p14="http://schemas.microsoft.com/office/powerpoint/2010/main" val="3241421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GB" dirty="0"/>
              <a:t>Business segments (2/2)</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US" sz="1000" b="1" i="1" dirty="0">
                <a:solidFill>
                  <a:schemeClr val="tx2"/>
                </a:solidFill>
              </a:rPr>
              <a:t>{</a:t>
            </a:r>
            <a:r>
              <a:rPr lang="en-US" sz="1000" b="1" i="1" dirty="0" err="1">
                <a:solidFill>
                  <a:schemeClr val="tx2"/>
                </a:solidFill>
              </a:rPr>
              <a:t>biz_summary</a:t>
            </a:r>
            <a:r>
              <a:rPr lang="en-US" sz="1000" b="1" i="1" dirty="0">
                <a:solidFill>
                  <a:schemeClr val="tx2"/>
                </a:solidFill>
              </a:rPr>
              <a:t>}</a:t>
            </a:r>
          </a:p>
        </p:txBody>
      </p:sp>
      <p:sp>
        <p:nvSpPr>
          <p:cNvPr id="389" name="Rectangle 388">
            <a:extLst>
              <a:ext uri="{FF2B5EF4-FFF2-40B4-BE49-F238E27FC236}">
                <a16:creationId xmlns:a16="http://schemas.microsoft.com/office/drawing/2014/main" id="{F0791DC6-1C3E-4AAA-81FA-13ACD9698949}"/>
              </a:ext>
            </a:extLst>
          </p:cNvPr>
          <p:cNvSpPr/>
          <p:nvPr/>
        </p:nvSpPr>
        <p:spPr>
          <a:xfrm>
            <a:off x="488805" y="1437689"/>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a:solidFill>
                  <a:schemeClr val="bg1"/>
                </a:solidFill>
                <a:latin typeface="Arial"/>
              </a:rPr>
              <a:t>Other services</a:t>
            </a:r>
            <a:endParaRPr lang="en-US" sz="894" b="1" dirty="0">
              <a:solidFill>
                <a:schemeClr val="bg1"/>
              </a:solidFill>
              <a:latin typeface="Arial"/>
            </a:endParaRPr>
          </a:p>
        </p:txBody>
      </p:sp>
      <p:sp>
        <p:nvSpPr>
          <p:cNvPr id="391" name="Rectangle 390">
            <a:extLst>
              <a:ext uri="{FF2B5EF4-FFF2-40B4-BE49-F238E27FC236}">
                <a16:creationId xmlns:a16="http://schemas.microsoft.com/office/drawing/2014/main" id="{0D8E81E4-1202-4E04-83C9-4F0E100C11E9}"/>
              </a:ext>
            </a:extLst>
          </p:cNvPr>
          <p:cNvSpPr/>
          <p:nvPr/>
        </p:nvSpPr>
        <p:spPr>
          <a:xfrm>
            <a:off x="5264280" y="2084046"/>
            <a:ext cx="4034984" cy="2132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a:spcAft>
                <a:spcPts val="487"/>
              </a:spcAft>
            </a:pPr>
            <a:r>
              <a:rPr lang="en-US" sz="1000" dirty="0">
                <a:solidFill>
                  <a:schemeClr val="tx1"/>
                </a:solidFill>
              </a:rPr>
              <a:t>{</a:t>
            </a:r>
            <a:r>
              <a:rPr lang="en-US" sz="1000" dirty="0" err="1">
                <a:solidFill>
                  <a:schemeClr val="tx1"/>
                </a:solidFill>
              </a:rPr>
              <a:t>social_work_desc</a:t>
            </a:r>
            <a:r>
              <a:rPr lang="en-US" sz="1000" dirty="0">
                <a:solidFill>
                  <a:schemeClr val="tx1"/>
                </a:solidFill>
              </a:rPr>
              <a:t>}</a:t>
            </a:r>
          </a:p>
        </p:txBody>
      </p:sp>
      <p:sp>
        <p:nvSpPr>
          <p:cNvPr id="393" name="Rectangle 392">
            <a:extLst>
              <a:ext uri="{FF2B5EF4-FFF2-40B4-BE49-F238E27FC236}">
                <a16:creationId xmlns:a16="http://schemas.microsoft.com/office/drawing/2014/main" id="{C8FB3A27-79C0-46A3-99CC-3975F1EF8C8F}"/>
              </a:ext>
            </a:extLst>
          </p:cNvPr>
          <p:cNvSpPr/>
          <p:nvPr/>
        </p:nvSpPr>
        <p:spPr>
          <a:xfrm>
            <a:off x="534028" y="1735897"/>
            <a:ext cx="4250231" cy="2481005"/>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7" name="Freeform 31">
            <a:extLst>
              <a:ext uri="{FF2B5EF4-FFF2-40B4-BE49-F238E27FC236}">
                <a16:creationId xmlns:a16="http://schemas.microsoft.com/office/drawing/2014/main" id="{8ABABB7D-FF07-46B8-97A1-C67E5B4F3E8D}"/>
              </a:ext>
            </a:extLst>
          </p:cNvPr>
          <p:cNvSpPr>
            <a:spLocks noEditPoints="1"/>
          </p:cNvSpPr>
          <p:nvPr/>
        </p:nvSpPr>
        <p:spPr bwMode="auto">
          <a:xfrm>
            <a:off x="3835099" y="1751552"/>
            <a:ext cx="185738" cy="185738"/>
          </a:xfrm>
          <a:custGeom>
            <a:avLst/>
            <a:gdLst>
              <a:gd name="T0" fmla="*/ 1207 w 1309"/>
              <a:gd name="T1" fmla="*/ 1361 h 1363"/>
              <a:gd name="T2" fmla="*/ 1253 w 1309"/>
              <a:gd name="T3" fmla="*/ 1341 h 1363"/>
              <a:gd name="T4" fmla="*/ 1287 w 1309"/>
              <a:gd name="T5" fmla="*/ 1307 h 1363"/>
              <a:gd name="T6" fmla="*/ 1307 w 1309"/>
              <a:gd name="T7" fmla="*/ 1260 h 1363"/>
              <a:gd name="T8" fmla="*/ 1309 w 1309"/>
              <a:gd name="T9" fmla="*/ 506 h 1363"/>
              <a:gd name="T10" fmla="*/ 1293 w 1309"/>
              <a:gd name="T11" fmla="*/ 458 h 1363"/>
              <a:gd name="T12" fmla="*/ 1263 w 1309"/>
              <a:gd name="T13" fmla="*/ 421 h 1363"/>
              <a:gd name="T14" fmla="*/ 1219 w 1309"/>
              <a:gd name="T15" fmla="*/ 397 h 1363"/>
              <a:gd name="T16" fmla="*/ 127 w 1309"/>
              <a:gd name="T17" fmla="*/ 391 h 1363"/>
              <a:gd name="T18" fmla="*/ 77 w 1309"/>
              <a:gd name="T19" fmla="*/ 402 h 1363"/>
              <a:gd name="T20" fmla="*/ 38 w 1309"/>
              <a:gd name="T21" fmla="*/ 429 h 1363"/>
              <a:gd name="T22" fmla="*/ 10 w 1309"/>
              <a:gd name="T23" fmla="*/ 469 h 1363"/>
              <a:gd name="T24" fmla="*/ 0 w 1309"/>
              <a:gd name="T25" fmla="*/ 519 h 1363"/>
              <a:gd name="T26" fmla="*/ 6 w 1309"/>
              <a:gd name="T27" fmla="*/ 1274 h 1363"/>
              <a:gd name="T28" fmla="*/ 29 w 1309"/>
              <a:gd name="T29" fmla="*/ 1317 h 1363"/>
              <a:gd name="T30" fmla="*/ 66 w 1309"/>
              <a:gd name="T31" fmla="*/ 1348 h 1363"/>
              <a:gd name="T32" fmla="*/ 114 w 1309"/>
              <a:gd name="T33" fmla="*/ 1362 h 1363"/>
              <a:gd name="T34" fmla="*/ 318 w 1309"/>
              <a:gd name="T35" fmla="*/ 354 h 1363"/>
              <a:gd name="T36" fmla="*/ 347 w 1309"/>
              <a:gd name="T37" fmla="*/ 200 h 1363"/>
              <a:gd name="T38" fmla="*/ 423 w 1309"/>
              <a:gd name="T39" fmla="*/ 88 h 1363"/>
              <a:gd name="T40" fmla="*/ 531 w 1309"/>
              <a:gd name="T41" fmla="*/ 22 h 1363"/>
              <a:gd name="T42" fmla="*/ 655 w 1309"/>
              <a:gd name="T43" fmla="*/ 0 h 1363"/>
              <a:gd name="T44" fmla="*/ 778 w 1309"/>
              <a:gd name="T45" fmla="*/ 22 h 1363"/>
              <a:gd name="T46" fmla="*/ 886 w 1309"/>
              <a:gd name="T47" fmla="*/ 88 h 1363"/>
              <a:gd name="T48" fmla="*/ 962 w 1309"/>
              <a:gd name="T49" fmla="*/ 200 h 1363"/>
              <a:gd name="T50" fmla="*/ 991 w 1309"/>
              <a:gd name="T51" fmla="*/ 354 h 1363"/>
              <a:gd name="T52" fmla="*/ 856 w 1309"/>
              <a:gd name="T53" fmla="*/ 332 h 1363"/>
              <a:gd name="T54" fmla="*/ 831 w 1309"/>
              <a:gd name="T55" fmla="*/ 244 h 1363"/>
              <a:gd name="T56" fmla="*/ 780 w 1309"/>
              <a:gd name="T57" fmla="*/ 182 h 1363"/>
              <a:gd name="T58" fmla="*/ 712 w 1309"/>
              <a:gd name="T59" fmla="*/ 148 h 1363"/>
              <a:gd name="T60" fmla="*/ 637 w 1309"/>
              <a:gd name="T61" fmla="*/ 140 h 1363"/>
              <a:gd name="T62" fmla="*/ 564 w 1309"/>
              <a:gd name="T63" fmla="*/ 161 h 1363"/>
              <a:gd name="T64" fmla="*/ 503 w 1309"/>
              <a:gd name="T65" fmla="*/ 209 h 1363"/>
              <a:gd name="T66" fmla="*/ 462 w 1309"/>
              <a:gd name="T67" fmla="*/ 284 h 1363"/>
              <a:gd name="T68" fmla="*/ 318 w 1309"/>
              <a:gd name="T69" fmla="*/ 359 h 1363"/>
              <a:gd name="T70" fmla="*/ 517 w 1309"/>
              <a:gd name="T71" fmla="*/ 834 h 1363"/>
              <a:gd name="T72" fmla="*/ 696 w 1309"/>
              <a:gd name="T73" fmla="*/ 834 h 1363"/>
              <a:gd name="T74" fmla="*/ 696 w 1309"/>
              <a:gd name="T75" fmla="*/ 1015 h 1363"/>
              <a:gd name="T76" fmla="*/ 611 w 1309"/>
              <a:gd name="T77" fmla="*/ 1088 h 1363"/>
              <a:gd name="T78" fmla="*/ 534 w 1309"/>
              <a:gd name="T79" fmla="*/ 1056 h 1363"/>
              <a:gd name="T80" fmla="*/ 476 w 1309"/>
              <a:gd name="T81" fmla="*/ 998 h 1363"/>
              <a:gd name="T82" fmla="*/ 444 w 1309"/>
              <a:gd name="T83" fmla="*/ 921 h 1363"/>
              <a:gd name="T84" fmla="*/ 444 w 1309"/>
              <a:gd name="T85" fmla="*/ 833 h 1363"/>
              <a:gd name="T86" fmla="*/ 476 w 1309"/>
              <a:gd name="T87" fmla="*/ 757 h 1363"/>
              <a:gd name="T88" fmla="*/ 534 w 1309"/>
              <a:gd name="T89" fmla="*/ 699 h 1363"/>
              <a:gd name="T90" fmla="*/ 611 w 1309"/>
              <a:gd name="T91" fmla="*/ 667 h 1363"/>
              <a:gd name="T92" fmla="*/ 698 w 1309"/>
              <a:gd name="T93" fmla="*/ 667 h 1363"/>
              <a:gd name="T94" fmla="*/ 775 w 1309"/>
              <a:gd name="T95" fmla="*/ 699 h 1363"/>
              <a:gd name="T96" fmla="*/ 833 w 1309"/>
              <a:gd name="T97" fmla="*/ 757 h 1363"/>
              <a:gd name="T98" fmla="*/ 865 w 1309"/>
              <a:gd name="T99" fmla="*/ 833 h 1363"/>
              <a:gd name="T100" fmla="*/ 865 w 1309"/>
              <a:gd name="T101" fmla="*/ 921 h 1363"/>
              <a:gd name="T102" fmla="*/ 833 w 1309"/>
              <a:gd name="T103" fmla="*/ 998 h 1363"/>
              <a:gd name="T104" fmla="*/ 775 w 1309"/>
              <a:gd name="T105" fmla="*/ 1056 h 1363"/>
              <a:gd name="T106" fmla="*/ 698 w 1309"/>
              <a:gd name="T107" fmla="*/ 108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9" h="1363">
                <a:moveTo>
                  <a:pt x="127" y="1363"/>
                </a:moveTo>
                <a:lnTo>
                  <a:pt x="1182" y="1363"/>
                </a:lnTo>
                <a:lnTo>
                  <a:pt x="1194" y="1362"/>
                </a:lnTo>
                <a:lnTo>
                  <a:pt x="1207" y="1361"/>
                </a:lnTo>
                <a:lnTo>
                  <a:pt x="1219" y="1357"/>
                </a:lnTo>
                <a:lnTo>
                  <a:pt x="1231" y="1353"/>
                </a:lnTo>
                <a:lnTo>
                  <a:pt x="1243" y="1348"/>
                </a:lnTo>
                <a:lnTo>
                  <a:pt x="1253" y="1341"/>
                </a:lnTo>
                <a:lnTo>
                  <a:pt x="1263" y="1333"/>
                </a:lnTo>
                <a:lnTo>
                  <a:pt x="1271" y="1325"/>
                </a:lnTo>
                <a:lnTo>
                  <a:pt x="1280" y="1317"/>
                </a:lnTo>
                <a:lnTo>
                  <a:pt x="1287" y="1307"/>
                </a:lnTo>
                <a:lnTo>
                  <a:pt x="1293" y="1296"/>
                </a:lnTo>
                <a:lnTo>
                  <a:pt x="1299" y="1285"/>
                </a:lnTo>
                <a:lnTo>
                  <a:pt x="1303" y="1274"/>
                </a:lnTo>
                <a:lnTo>
                  <a:pt x="1307" y="1260"/>
                </a:lnTo>
                <a:lnTo>
                  <a:pt x="1309" y="1248"/>
                </a:lnTo>
                <a:lnTo>
                  <a:pt x="1309" y="1235"/>
                </a:lnTo>
                <a:lnTo>
                  <a:pt x="1309" y="519"/>
                </a:lnTo>
                <a:lnTo>
                  <a:pt x="1309" y="506"/>
                </a:lnTo>
                <a:lnTo>
                  <a:pt x="1307" y="493"/>
                </a:lnTo>
                <a:lnTo>
                  <a:pt x="1303" y="481"/>
                </a:lnTo>
                <a:lnTo>
                  <a:pt x="1299" y="469"/>
                </a:lnTo>
                <a:lnTo>
                  <a:pt x="1293" y="458"/>
                </a:lnTo>
                <a:lnTo>
                  <a:pt x="1287" y="448"/>
                </a:lnTo>
                <a:lnTo>
                  <a:pt x="1280" y="438"/>
                </a:lnTo>
                <a:lnTo>
                  <a:pt x="1271" y="429"/>
                </a:lnTo>
                <a:lnTo>
                  <a:pt x="1263" y="421"/>
                </a:lnTo>
                <a:lnTo>
                  <a:pt x="1253" y="413"/>
                </a:lnTo>
                <a:lnTo>
                  <a:pt x="1243" y="407"/>
                </a:lnTo>
                <a:lnTo>
                  <a:pt x="1231" y="402"/>
                </a:lnTo>
                <a:lnTo>
                  <a:pt x="1219" y="397"/>
                </a:lnTo>
                <a:lnTo>
                  <a:pt x="1207" y="394"/>
                </a:lnTo>
                <a:lnTo>
                  <a:pt x="1194" y="392"/>
                </a:lnTo>
                <a:lnTo>
                  <a:pt x="1182" y="391"/>
                </a:lnTo>
                <a:lnTo>
                  <a:pt x="127" y="391"/>
                </a:lnTo>
                <a:lnTo>
                  <a:pt x="114" y="392"/>
                </a:lnTo>
                <a:lnTo>
                  <a:pt x="102" y="394"/>
                </a:lnTo>
                <a:lnTo>
                  <a:pt x="90" y="397"/>
                </a:lnTo>
                <a:lnTo>
                  <a:pt x="77" y="402"/>
                </a:lnTo>
                <a:lnTo>
                  <a:pt x="66" y="407"/>
                </a:lnTo>
                <a:lnTo>
                  <a:pt x="56" y="413"/>
                </a:lnTo>
                <a:lnTo>
                  <a:pt x="46" y="421"/>
                </a:lnTo>
                <a:lnTo>
                  <a:pt x="38" y="429"/>
                </a:lnTo>
                <a:lnTo>
                  <a:pt x="29" y="438"/>
                </a:lnTo>
                <a:lnTo>
                  <a:pt x="21" y="448"/>
                </a:lnTo>
                <a:lnTo>
                  <a:pt x="16" y="458"/>
                </a:lnTo>
                <a:lnTo>
                  <a:pt x="10" y="469"/>
                </a:lnTo>
                <a:lnTo>
                  <a:pt x="6" y="481"/>
                </a:lnTo>
                <a:lnTo>
                  <a:pt x="2" y="493"/>
                </a:lnTo>
                <a:lnTo>
                  <a:pt x="0" y="506"/>
                </a:lnTo>
                <a:lnTo>
                  <a:pt x="0" y="519"/>
                </a:lnTo>
                <a:lnTo>
                  <a:pt x="0" y="1235"/>
                </a:lnTo>
                <a:lnTo>
                  <a:pt x="0" y="1248"/>
                </a:lnTo>
                <a:lnTo>
                  <a:pt x="2" y="1260"/>
                </a:lnTo>
                <a:lnTo>
                  <a:pt x="6" y="1274"/>
                </a:lnTo>
                <a:lnTo>
                  <a:pt x="10" y="1285"/>
                </a:lnTo>
                <a:lnTo>
                  <a:pt x="16" y="1296"/>
                </a:lnTo>
                <a:lnTo>
                  <a:pt x="21" y="1307"/>
                </a:lnTo>
                <a:lnTo>
                  <a:pt x="29" y="1317"/>
                </a:lnTo>
                <a:lnTo>
                  <a:pt x="38" y="1325"/>
                </a:lnTo>
                <a:lnTo>
                  <a:pt x="46" y="1333"/>
                </a:lnTo>
                <a:lnTo>
                  <a:pt x="56" y="1341"/>
                </a:lnTo>
                <a:lnTo>
                  <a:pt x="66" y="1348"/>
                </a:lnTo>
                <a:lnTo>
                  <a:pt x="77" y="1353"/>
                </a:lnTo>
                <a:lnTo>
                  <a:pt x="90" y="1357"/>
                </a:lnTo>
                <a:lnTo>
                  <a:pt x="102" y="1361"/>
                </a:lnTo>
                <a:lnTo>
                  <a:pt x="114" y="1362"/>
                </a:lnTo>
                <a:lnTo>
                  <a:pt x="127" y="1363"/>
                </a:lnTo>
                <a:close/>
                <a:moveTo>
                  <a:pt x="318" y="359"/>
                </a:moveTo>
                <a:lnTo>
                  <a:pt x="318" y="357"/>
                </a:lnTo>
                <a:lnTo>
                  <a:pt x="318" y="354"/>
                </a:lnTo>
                <a:lnTo>
                  <a:pt x="319" y="311"/>
                </a:lnTo>
                <a:lnTo>
                  <a:pt x="325" y="272"/>
                </a:lnTo>
                <a:lnTo>
                  <a:pt x="334" y="234"/>
                </a:lnTo>
                <a:lnTo>
                  <a:pt x="347" y="200"/>
                </a:lnTo>
                <a:lnTo>
                  <a:pt x="362" y="168"/>
                </a:lnTo>
                <a:lnTo>
                  <a:pt x="380" y="138"/>
                </a:lnTo>
                <a:lnTo>
                  <a:pt x="400" y="112"/>
                </a:lnTo>
                <a:lnTo>
                  <a:pt x="423" y="88"/>
                </a:lnTo>
                <a:lnTo>
                  <a:pt x="447" y="68"/>
                </a:lnTo>
                <a:lnTo>
                  <a:pt x="474" y="50"/>
                </a:lnTo>
                <a:lnTo>
                  <a:pt x="501" y="34"/>
                </a:lnTo>
                <a:lnTo>
                  <a:pt x="531" y="22"/>
                </a:lnTo>
                <a:lnTo>
                  <a:pt x="561" y="12"/>
                </a:lnTo>
                <a:lnTo>
                  <a:pt x="592" y="6"/>
                </a:lnTo>
                <a:lnTo>
                  <a:pt x="623" y="1"/>
                </a:lnTo>
                <a:lnTo>
                  <a:pt x="655" y="0"/>
                </a:lnTo>
                <a:lnTo>
                  <a:pt x="685" y="1"/>
                </a:lnTo>
                <a:lnTo>
                  <a:pt x="717" y="6"/>
                </a:lnTo>
                <a:lnTo>
                  <a:pt x="748" y="12"/>
                </a:lnTo>
                <a:lnTo>
                  <a:pt x="778" y="22"/>
                </a:lnTo>
                <a:lnTo>
                  <a:pt x="807" y="34"/>
                </a:lnTo>
                <a:lnTo>
                  <a:pt x="835" y="50"/>
                </a:lnTo>
                <a:lnTo>
                  <a:pt x="861" y="68"/>
                </a:lnTo>
                <a:lnTo>
                  <a:pt x="886" y="88"/>
                </a:lnTo>
                <a:lnTo>
                  <a:pt x="908" y="112"/>
                </a:lnTo>
                <a:lnTo>
                  <a:pt x="929" y="138"/>
                </a:lnTo>
                <a:lnTo>
                  <a:pt x="947" y="168"/>
                </a:lnTo>
                <a:lnTo>
                  <a:pt x="962" y="200"/>
                </a:lnTo>
                <a:lnTo>
                  <a:pt x="975" y="234"/>
                </a:lnTo>
                <a:lnTo>
                  <a:pt x="983" y="272"/>
                </a:lnTo>
                <a:lnTo>
                  <a:pt x="989" y="311"/>
                </a:lnTo>
                <a:lnTo>
                  <a:pt x="991" y="354"/>
                </a:lnTo>
                <a:lnTo>
                  <a:pt x="991" y="357"/>
                </a:lnTo>
                <a:lnTo>
                  <a:pt x="991" y="359"/>
                </a:lnTo>
                <a:lnTo>
                  <a:pt x="858" y="359"/>
                </a:lnTo>
                <a:lnTo>
                  <a:pt x="856" y="332"/>
                </a:lnTo>
                <a:lnTo>
                  <a:pt x="853" y="308"/>
                </a:lnTo>
                <a:lnTo>
                  <a:pt x="848" y="285"/>
                </a:lnTo>
                <a:lnTo>
                  <a:pt x="840" y="264"/>
                </a:lnTo>
                <a:lnTo>
                  <a:pt x="831" y="244"/>
                </a:lnTo>
                <a:lnTo>
                  <a:pt x="820" y="226"/>
                </a:lnTo>
                <a:lnTo>
                  <a:pt x="808" y="210"/>
                </a:lnTo>
                <a:lnTo>
                  <a:pt x="795" y="196"/>
                </a:lnTo>
                <a:lnTo>
                  <a:pt x="780" y="182"/>
                </a:lnTo>
                <a:lnTo>
                  <a:pt x="764" y="171"/>
                </a:lnTo>
                <a:lnTo>
                  <a:pt x="747" y="161"/>
                </a:lnTo>
                <a:lnTo>
                  <a:pt x="730" y="154"/>
                </a:lnTo>
                <a:lnTo>
                  <a:pt x="712" y="148"/>
                </a:lnTo>
                <a:lnTo>
                  <a:pt x="693" y="144"/>
                </a:lnTo>
                <a:lnTo>
                  <a:pt x="674" y="141"/>
                </a:lnTo>
                <a:lnTo>
                  <a:pt x="656" y="140"/>
                </a:lnTo>
                <a:lnTo>
                  <a:pt x="637" y="140"/>
                </a:lnTo>
                <a:lnTo>
                  <a:pt x="618" y="144"/>
                </a:lnTo>
                <a:lnTo>
                  <a:pt x="599" y="147"/>
                </a:lnTo>
                <a:lnTo>
                  <a:pt x="582" y="154"/>
                </a:lnTo>
                <a:lnTo>
                  <a:pt x="564" y="161"/>
                </a:lnTo>
                <a:lnTo>
                  <a:pt x="547" y="170"/>
                </a:lnTo>
                <a:lnTo>
                  <a:pt x="532" y="181"/>
                </a:lnTo>
                <a:lnTo>
                  <a:pt x="517" y="194"/>
                </a:lnTo>
                <a:lnTo>
                  <a:pt x="503" y="209"/>
                </a:lnTo>
                <a:lnTo>
                  <a:pt x="490" y="224"/>
                </a:lnTo>
                <a:lnTo>
                  <a:pt x="479" y="243"/>
                </a:lnTo>
                <a:lnTo>
                  <a:pt x="470" y="263"/>
                </a:lnTo>
                <a:lnTo>
                  <a:pt x="462" y="284"/>
                </a:lnTo>
                <a:lnTo>
                  <a:pt x="457" y="307"/>
                </a:lnTo>
                <a:lnTo>
                  <a:pt x="453" y="331"/>
                </a:lnTo>
                <a:lnTo>
                  <a:pt x="451" y="359"/>
                </a:lnTo>
                <a:lnTo>
                  <a:pt x="318" y="359"/>
                </a:lnTo>
                <a:close/>
                <a:moveTo>
                  <a:pt x="613" y="1015"/>
                </a:moveTo>
                <a:lnTo>
                  <a:pt x="613" y="921"/>
                </a:lnTo>
                <a:lnTo>
                  <a:pt x="517" y="921"/>
                </a:lnTo>
                <a:lnTo>
                  <a:pt x="517" y="834"/>
                </a:lnTo>
                <a:lnTo>
                  <a:pt x="613" y="834"/>
                </a:lnTo>
                <a:lnTo>
                  <a:pt x="613" y="740"/>
                </a:lnTo>
                <a:lnTo>
                  <a:pt x="696" y="740"/>
                </a:lnTo>
                <a:lnTo>
                  <a:pt x="696" y="834"/>
                </a:lnTo>
                <a:lnTo>
                  <a:pt x="792" y="834"/>
                </a:lnTo>
                <a:lnTo>
                  <a:pt x="792" y="921"/>
                </a:lnTo>
                <a:lnTo>
                  <a:pt x="696" y="921"/>
                </a:lnTo>
                <a:lnTo>
                  <a:pt x="696" y="1015"/>
                </a:lnTo>
                <a:lnTo>
                  <a:pt x="613" y="1015"/>
                </a:lnTo>
                <a:close/>
                <a:moveTo>
                  <a:pt x="655" y="1093"/>
                </a:moveTo>
                <a:lnTo>
                  <a:pt x="632" y="1092"/>
                </a:lnTo>
                <a:lnTo>
                  <a:pt x="611" y="1088"/>
                </a:lnTo>
                <a:lnTo>
                  <a:pt x="591" y="1083"/>
                </a:lnTo>
                <a:lnTo>
                  <a:pt x="571" y="1076"/>
                </a:lnTo>
                <a:lnTo>
                  <a:pt x="552" y="1066"/>
                </a:lnTo>
                <a:lnTo>
                  <a:pt x="534" y="1056"/>
                </a:lnTo>
                <a:lnTo>
                  <a:pt x="518" y="1043"/>
                </a:lnTo>
                <a:lnTo>
                  <a:pt x="502" y="1030"/>
                </a:lnTo>
                <a:lnTo>
                  <a:pt x="488" y="1014"/>
                </a:lnTo>
                <a:lnTo>
                  <a:pt x="476" y="998"/>
                </a:lnTo>
                <a:lnTo>
                  <a:pt x="465" y="980"/>
                </a:lnTo>
                <a:lnTo>
                  <a:pt x="456" y="961"/>
                </a:lnTo>
                <a:lnTo>
                  <a:pt x="448" y="941"/>
                </a:lnTo>
                <a:lnTo>
                  <a:pt x="444" y="921"/>
                </a:lnTo>
                <a:lnTo>
                  <a:pt x="440" y="900"/>
                </a:lnTo>
                <a:lnTo>
                  <a:pt x="439" y="877"/>
                </a:lnTo>
                <a:lnTo>
                  <a:pt x="440" y="855"/>
                </a:lnTo>
                <a:lnTo>
                  <a:pt x="444" y="833"/>
                </a:lnTo>
                <a:lnTo>
                  <a:pt x="448" y="813"/>
                </a:lnTo>
                <a:lnTo>
                  <a:pt x="456" y="794"/>
                </a:lnTo>
                <a:lnTo>
                  <a:pt x="465" y="775"/>
                </a:lnTo>
                <a:lnTo>
                  <a:pt x="476" y="757"/>
                </a:lnTo>
                <a:lnTo>
                  <a:pt x="488" y="741"/>
                </a:lnTo>
                <a:lnTo>
                  <a:pt x="502" y="725"/>
                </a:lnTo>
                <a:lnTo>
                  <a:pt x="518" y="711"/>
                </a:lnTo>
                <a:lnTo>
                  <a:pt x="534" y="699"/>
                </a:lnTo>
                <a:lnTo>
                  <a:pt x="552" y="688"/>
                </a:lnTo>
                <a:lnTo>
                  <a:pt x="571" y="679"/>
                </a:lnTo>
                <a:lnTo>
                  <a:pt x="591" y="671"/>
                </a:lnTo>
                <a:lnTo>
                  <a:pt x="611" y="667"/>
                </a:lnTo>
                <a:lnTo>
                  <a:pt x="632" y="663"/>
                </a:lnTo>
                <a:lnTo>
                  <a:pt x="655" y="662"/>
                </a:lnTo>
                <a:lnTo>
                  <a:pt x="677" y="663"/>
                </a:lnTo>
                <a:lnTo>
                  <a:pt x="698" y="667"/>
                </a:lnTo>
                <a:lnTo>
                  <a:pt x="719" y="671"/>
                </a:lnTo>
                <a:lnTo>
                  <a:pt x="738" y="679"/>
                </a:lnTo>
                <a:lnTo>
                  <a:pt x="757" y="688"/>
                </a:lnTo>
                <a:lnTo>
                  <a:pt x="775" y="699"/>
                </a:lnTo>
                <a:lnTo>
                  <a:pt x="791" y="711"/>
                </a:lnTo>
                <a:lnTo>
                  <a:pt x="807" y="725"/>
                </a:lnTo>
                <a:lnTo>
                  <a:pt x="820" y="741"/>
                </a:lnTo>
                <a:lnTo>
                  <a:pt x="833" y="757"/>
                </a:lnTo>
                <a:lnTo>
                  <a:pt x="844" y="775"/>
                </a:lnTo>
                <a:lnTo>
                  <a:pt x="853" y="794"/>
                </a:lnTo>
                <a:lnTo>
                  <a:pt x="860" y="813"/>
                </a:lnTo>
                <a:lnTo>
                  <a:pt x="865" y="833"/>
                </a:lnTo>
                <a:lnTo>
                  <a:pt x="869" y="855"/>
                </a:lnTo>
                <a:lnTo>
                  <a:pt x="870" y="877"/>
                </a:lnTo>
                <a:lnTo>
                  <a:pt x="869" y="900"/>
                </a:lnTo>
                <a:lnTo>
                  <a:pt x="865" y="921"/>
                </a:lnTo>
                <a:lnTo>
                  <a:pt x="860" y="941"/>
                </a:lnTo>
                <a:lnTo>
                  <a:pt x="853" y="961"/>
                </a:lnTo>
                <a:lnTo>
                  <a:pt x="844" y="980"/>
                </a:lnTo>
                <a:lnTo>
                  <a:pt x="833" y="998"/>
                </a:lnTo>
                <a:lnTo>
                  <a:pt x="820" y="1014"/>
                </a:lnTo>
                <a:lnTo>
                  <a:pt x="807" y="1030"/>
                </a:lnTo>
                <a:lnTo>
                  <a:pt x="791" y="1043"/>
                </a:lnTo>
                <a:lnTo>
                  <a:pt x="775" y="1056"/>
                </a:lnTo>
                <a:lnTo>
                  <a:pt x="757" y="1066"/>
                </a:lnTo>
                <a:lnTo>
                  <a:pt x="738" y="1076"/>
                </a:lnTo>
                <a:lnTo>
                  <a:pt x="719" y="1083"/>
                </a:lnTo>
                <a:lnTo>
                  <a:pt x="698" y="1088"/>
                </a:lnTo>
                <a:lnTo>
                  <a:pt x="677" y="1092"/>
                </a:lnTo>
                <a:lnTo>
                  <a:pt x="655" y="1093"/>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2" dirty="0"/>
          </a:p>
        </p:txBody>
      </p:sp>
      <p:sp>
        <p:nvSpPr>
          <p:cNvPr id="400" name="TextBox 399">
            <a:extLst>
              <a:ext uri="{FF2B5EF4-FFF2-40B4-BE49-F238E27FC236}">
                <a16:creationId xmlns:a16="http://schemas.microsoft.com/office/drawing/2014/main" id="{3FD96348-9B0F-45E2-BE2C-B08AA7539EAC}"/>
              </a:ext>
            </a:extLst>
          </p:cNvPr>
          <p:cNvSpPr txBox="1"/>
          <p:nvPr/>
        </p:nvSpPr>
        <p:spPr>
          <a:xfrm>
            <a:off x="5184464" y="4663651"/>
            <a:ext cx="4194616" cy="1244183"/>
          </a:xfrm>
          <a:prstGeom prst="rect">
            <a:avLst/>
          </a:prstGeom>
          <a:noFill/>
          <a:ln>
            <a:solidFill>
              <a:srgbClr val="00338D"/>
            </a:solidFill>
            <a:prstDash val="dash"/>
          </a:ln>
        </p:spPr>
        <p:txBody>
          <a:bodyPr wrap="square" lIns="44371" tIns="44371" rIns="44371" bIns="44371" rtlCol="0">
            <a:noAutofit/>
          </a:bodyPr>
          <a:lstStyle/>
          <a:p>
            <a:pPr marL="188315" indent="-188315">
              <a:spcAft>
                <a:spcPts val="487"/>
              </a:spcAft>
            </a:pPr>
            <a:endParaRPr lang="en-US" sz="812" b="1" dirty="0">
              <a:solidFill>
                <a:srgbClr val="00338D"/>
              </a:solidFill>
            </a:endParaRPr>
          </a:p>
        </p:txBody>
      </p:sp>
      <p:sp>
        <p:nvSpPr>
          <p:cNvPr id="3" name="Rectangle 2">
            <a:extLst>
              <a:ext uri="{FF2B5EF4-FFF2-40B4-BE49-F238E27FC236}">
                <a16:creationId xmlns:a16="http://schemas.microsoft.com/office/drawing/2014/main" id="{D3FD9540-9859-4714-AAF8-036DD3EC6634}"/>
              </a:ext>
            </a:extLst>
          </p:cNvPr>
          <p:cNvSpPr/>
          <p:nvPr/>
        </p:nvSpPr>
        <p:spPr>
          <a:xfrm>
            <a:off x="600087" y="2086061"/>
            <a:ext cx="4105001" cy="246221"/>
          </a:xfrm>
          <a:prstGeom prst="rect">
            <a:avLst/>
          </a:prstGeom>
        </p:spPr>
        <p:txBody>
          <a:bodyPr wrap="square">
            <a:spAutoFit/>
          </a:bodyPr>
          <a:lstStyle/>
          <a:p>
            <a:r>
              <a:rPr lang="en-US" sz="1000" dirty="0"/>
              <a:t>{</a:t>
            </a:r>
            <a:r>
              <a:rPr lang="en-US" sz="1000" dirty="0" err="1"/>
              <a:t>brand_desc</a:t>
            </a:r>
            <a:r>
              <a:rPr lang="en-US" sz="1000" dirty="0"/>
              <a:t>}</a:t>
            </a:r>
          </a:p>
        </p:txBody>
      </p:sp>
      <p:sp>
        <p:nvSpPr>
          <p:cNvPr id="7" name="TextBox 6">
            <a:extLst>
              <a:ext uri="{FF2B5EF4-FFF2-40B4-BE49-F238E27FC236}">
                <a16:creationId xmlns:a16="http://schemas.microsoft.com/office/drawing/2014/main" id="{FB1C9D1C-D6BD-47F5-9B95-2AADC7669B8C}"/>
              </a:ext>
            </a:extLst>
          </p:cNvPr>
          <p:cNvSpPr txBox="1"/>
          <p:nvPr/>
        </p:nvSpPr>
        <p:spPr>
          <a:xfrm>
            <a:off x="5264280" y="4961326"/>
            <a:ext cx="4093532" cy="1237465"/>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corp_solution_desc</a:t>
            </a:r>
            <a:r>
              <a:rPr lang="en-US" sz="1000" dirty="0"/>
              <a:t>}</a:t>
            </a:r>
            <a:endParaRPr lang="en-US" sz="1000" dirty="0">
              <a:solidFill>
                <a:schemeClr val="tx2"/>
              </a:solidFill>
            </a:endParaRPr>
          </a:p>
        </p:txBody>
      </p:sp>
      <p:sp>
        <p:nvSpPr>
          <p:cNvPr id="25" name="Rectangle: Rounded Corners 24">
            <a:extLst>
              <a:ext uri="{FF2B5EF4-FFF2-40B4-BE49-F238E27FC236}">
                <a16:creationId xmlns:a16="http://schemas.microsoft.com/office/drawing/2014/main" id="{F4DAF32A-F929-4467-9F6C-984DC812327D}"/>
              </a:ext>
            </a:extLst>
          </p:cNvPr>
          <p:cNvSpPr/>
          <p:nvPr/>
        </p:nvSpPr>
        <p:spPr>
          <a:xfrm>
            <a:off x="612973" y="1842808"/>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a:t>
            </a:r>
            <a:r>
              <a:rPr lang="en-US" sz="1100" b="1" dirty="0" err="1">
                <a:solidFill>
                  <a:prstClr val="white"/>
                </a:solidFill>
                <a:latin typeface="Arial"/>
              </a:rPr>
              <a:t>brand_name</a:t>
            </a:r>
            <a:r>
              <a:rPr lang="en-US" sz="1100" b="1" dirty="0">
                <a:solidFill>
                  <a:prstClr val="white"/>
                </a:solidFill>
                <a:latin typeface="Arial"/>
              </a:rPr>
              <a:t>}</a:t>
            </a:r>
          </a:p>
        </p:txBody>
      </p:sp>
      <p:sp>
        <p:nvSpPr>
          <p:cNvPr id="394" name="Rectangle 393">
            <a:extLst>
              <a:ext uri="{FF2B5EF4-FFF2-40B4-BE49-F238E27FC236}">
                <a16:creationId xmlns:a16="http://schemas.microsoft.com/office/drawing/2014/main" id="{4C2A2A6C-DE63-4DED-B3D3-043E380C5EEB}"/>
              </a:ext>
            </a:extLst>
          </p:cNvPr>
          <p:cNvSpPr/>
          <p:nvPr/>
        </p:nvSpPr>
        <p:spPr>
          <a:xfrm>
            <a:off x="5184465" y="1735898"/>
            <a:ext cx="4194616" cy="24961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26" name="Rectangle: Rounded Corners 25">
            <a:extLst>
              <a:ext uri="{FF2B5EF4-FFF2-40B4-BE49-F238E27FC236}">
                <a16:creationId xmlns:a16="http://schemas.microsoft.com/office/drawing/2014/main" id="{96AE5562-CC8C-4E53-914E-D02B79089E9B}"/>
              </a:ext>
            </a:extLst>
          </p:cNvPr>
          <p:cNvSpPr/>
          <p:nvPr/>
        </p:nvSpPr>
        <p:spPr>
          <a:xfrm>
            <a:off x="5228765" y="1836862"/>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Social work</a:t>
            </a:r>
          </a:p>
        </p:txBody>
      </p:sp>
      <p:sp>
        <p:nvSpPr>
          <p:cNvPr id="395" name="TextBox 394">
            <a:extLst>
              <a:ext uri="{FF2B5EF4-FFF2-40B4-BE49-F238E27FC236}">
                <a16:creationId xmlns:a16="http://schemas.microsoft.com/office/drawing/2014/main" id="{4ADE975E-4B57-40A5-AFF3-AD7CECFB4269}"/>
              </a:ext>
            </a:extLst>
          </p:cNvPr>
          <p:cNvSpPr txBox="1"/>
          <p:nvPr/>
        </p:nvSpPr>
        <p:spPr>
          <a:xfrm>
            <a:off x="526920" y="4670369"/>
            <a:ext cx="4257338" cy="1237465"/>
          </a:xfrm>
          <a:prstGeom prst="rect">
            <a:avLst/>
          </a:prstGeom>
          <a:noFill/>
          <a:ln>
            <a:solidFill>
              <a:srgbClr val="00338D"/>
            </a:solidFill>
            <a:prstDash val="dash"/>
          </a:ln>
        </p:spPr>
        <p:txBody>
          <a:bodyPr wrap="square" lIns="44371" tIns="44371" rIns="44371" bIns="44371" rtlCol="0">
            <a:noAutofit/>
          </a:bodyPr>
          <a:lstStyle/>
          <a:p>
            <a:pPr marL="188315" indent="-188315">
              <a:spcAft>
                <a:spcPts val="487"/>
              </a:spcAft>
            </a:pPr>
            <a:endParaRPr lang="en-US" sz="812" b="1" dirty="0">
              <a:solidFill>
                <a:srgbClr val="00338D"/>
              </a:solidFill>
            </a:endParaRPr>
          </a:p>
        </p:txBody>
      </p:sp>
      <p:sp>
        <p:nvSpPr>
          <p:cNvPr id="6" name="TextBox 5">
            <a:extLst>
              <a:ext uri="{FF2B5EF4-FFF2-40B4-BE49-F238E27FC236}">
                <a16:creationId xmlns:a16="http://schemas.microsoft.com/office/drawing/2014/main" id="{224332A7-AB44-43F1-95D6-633AA2B18910}"/>
              </a:ext>
            </a:extLst>
          </p:cNvPr>
          <p:cNvSpPr txBox="1"/>
          <p:nvPr/>
        </p:nvSpPr>
        <p:spPr>
          <a:xfrm>
            <a:off x="609886" y="4930831"/>
            <a:ext cx="4095202" cy="964321"/>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sch_network_desc</a:t>
            </a:r>
            <a:r>
              <a:rPr lang="en-US" sz="1000" dirty="0"/>
              <a:t>}</a:t>
            </a:r>
          </a:p>
          <a:p>
            <a:pPr marL="171448" indent="-171448">
              <a:spcAft>
                <a:spcPts val="600"/>
              </a:spcAft>
              <a:buFont typeface="Arial" panose="020B0604020202020204" pitchFamily="34" charset="0"/>
              <a:buChar char="—"/>
            </a:pPr>
            <a:endParaRPr lang="en-US" sz="1000" dirty="0">
              <a:solidFill>
                <a:schemeClr val="tx2"/>
              </a:solidFill>
            </a:endParaRPr>
          </a:p>
        </p:txBody>
      </p:sp>
      <p:sp>
        <p:nvSpPr>
          <p:cNvPr id="27" name="Rectangle: Rounded Corners 26">
            <a:extLst>
              <a:ext uri="{FF2B5EF4-FFF2-40B4-BE49-F238E27FC236}">
                <a16:creationId xmlns:a16="http://schemas.microsoft.com/office/drawing/2014/main" id="{B03B7D4D-7F8F-44D2-8F7D-8C8A326922F1}"/>
              </a:ext>
            </a:extLst>
          </p:cNvPr>
          <p:cNvSpPr/>
          <p:nvPr/>
        </p:nvSpPr>
        <p:spPr>
          <a:xfrm>
            <a:off x="600087" y="4747951"/>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School network</a:t>
            </a:r>
          </a:p>
        </p:txBody>
      </p:sp>
      <p:sp>
        <p:nvSpPr>
          <p:cNvPr id="28" name="Rectangle: Rounded Corners 27">
            <a:extLst>
              <a:ext uri="{FF2B5EF4-FFF2-40B4-BE49-F238E27FC236}">
                <a16:creationId xmlns:a16="http://schemas.microsoft.com/office/drawing/2014/main" id="{BA801B1F-344C-4022-941F-8A3E5E762764}"/>
              </a:ext>
            </a:extLst>
          </p:cNvPr>
          <p:cNvSpPr/>
          <p:nvPr/>
        </p:nvSpPr>
        <p:spPr>
          <a:xfrm>
            <a:off x="5243012" y="4750907"/>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Corporate solutions</a:t>
            </a:r>
          </a:p>
        </p:txBody>
      </p:sp>
      <p:sp>
        <p:nvSpPr>
          <p:cNvPr id="31" name="Rectangle 30">
            <a:extLst>
              <a:ext uri="{FF2B5EF4-FFF2-40B4-BE49-F238E27FC236}">
                <a16:creationId xmlns:a16="http://schemas.microsoft.com/office/drawing/2014/main" id="{05FD960B-2465-427E-85FC-6B8D5988EC38}"/>
              </a:ext>
            </a:extLst>
          </p:cNvPr>
          <p:cNvSpPr/>
          <p:nvPr/>
        </p:nvSpPr>
        <p:spPr>
          <a:xfrm>
            <a:off x="473623" y="4376011"/>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Other services </a:t>
            </a:r>
            <a:endParaRPr lang="en-US" sz="894" b="1" dirty="0">
              <a:solidFill>
                <a:schemeClr val="bg1"/>
              </a:solidFill>
              <a:latin typeface="Arial"/>
            </a:endParaRPr>
          </a:p>
        </p:txBody>
      </p:sp>
      <p:sp>
        <p:nvSpPr>
          <p:cNvPr id="32" name="Rectangle 31">
            <a:extLst>
              <a:ext uri="{FF2B5EF4-FFF2-40B4-BE49-F238E27FC236}">
                <a16:creationId xmlns:a16="http://schemas.microsoft.com/office/drawing/2014/main" id="{9A161229-F3B1-4F13-A776-8B7E415FC6E7}"/>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 &lt;Please fill in sources and links, Format: sources, link</a:t>
            </a:r>
            <a:r>
              <a:rPr lang="en-US" sz="600">
                <a:solidFill>
                  <a:srgbClr val="000000"/>
                </a:solidFill>
                <a:latin typeface="Arial"/>
              </a:rPr>
              <a:t>;&gt;</a:t>
            </a:r>
            <a:r>
              <a:rPr lang="en-US" sz="600">
                <a:solidFill>
                  <a:schemeClr val="tx1"/>
                </a:solidFill>
                <a:latin typeface="Arial" panose="020B0604020202020204" pitchFamily="34" charset="0"/>
                <a:cs typeface="Arial" panose="020B0604020202020204" pitchFamily="34" charset="0"/>
              </a:rPr>
              <a:t>; accessed </a:t>
            </a:r>
            <a:r>
              <a:rPr lang="en-US" sz="600" dirty="0">
                <a:solidFill>
                  <a:schemeClr val="tx1"/>
                </a:solidFill>
                <a:latin typeface="Arial" panose="020B0604020202020204" pitchFamily="34" charset="0"/>
                <a:cs typeface="Arial" panose="020B0604020202020204" pitchFamily="34" charset="0"/>
              </a:rPr>
              <a:t>on {date} </a:t>
            </a:r>
            <a:endParaRPr lang="en-US" sz="600" dirty="0">
              <a:solidFill>
                <a:srgbClr val="000000"/>
              </a:solidFill>
              <a:latin typeface="Arial" panose="020B0604020202020204" pitchFamily="34" charset="0"/>
              <a:cs typeface="Arial" panose="020B0604020202020204" pitchFamily="34" charset="0"/>
            </a:endParaRPr>
          </a:p>
        </p:txBody>
      </p:sp>
      <p:sp>
        <p:nvSpPr>
          <p:cNvPr id="33" name="Trapezoid 32">
            <a:extLst>
              <a:ext uri="{FF2B5EF4-FFF2-40B4-BE49-F238E27FC236}">
                <a16:creationId xmlns:a16="http://schemas.microsoft.com/office/drawing/2014/main" id="{DDC4D135-F255-4506-9357-F03567DD92A5}"/>
              </a:ext>
            </a:extLst>
          </p:cNvPr>
          <p:cNvSpPr/>
          <p:nvPr/>
        </p:nvSpPr>
        <p:spPr>
          <a:xfrm rot="5400000" flipV="1">
            <a:off x="3835058" y="2900131"/>
            <a:ext cx="2514600"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4" name="Trapezoid 33">
            <a:extLst>
              <a:ext uri="{FF2B5EF4-FFF2-40B4-BE49-F238E27FC236}">
                <a16:creationId xmlns:a16="http://schemas.microsoft.com/office/drawing/2014/main" id="{039D544D-57F7-40C3-87B1-FB2B83315226}"/>
              </a:ext>
            </a:extLst>
          </p:cNvPr>
          <p:cNvSpPr/>
          <p:nvPr/>
        </p:nvSpPr>
        <p:spPr>
          <a:xfrm rot="5400000" flipV="1">
            <a:off x="4481069" y="5198373"/>
            <a:ext cx="1234440"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Tree>
    <p:extLst>
      <p:ext uri="{BB962C8B-B14F-4D97-AF65-F5344CB8AC3E}">
        <p14:creationId xmlns:p14="http://schemas.microsoft.com/office/powerpoint/2010/main" val="1483041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REATEDBY" val="Global PowerPoint Toolbar"/>
  <p:tag name="TOOLBARVERSION" val="6.0"/>
  <p:tag name="TYPE" val="Report"/>
  <p:tag name="KEYWORD" val="REPORT"/>
  <p:tag name="TEMPLATEVERSION" val="25/05/2022 07:34: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13.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1.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22.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2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3.xml><?xml version="1.0" encoding="utf-8"?>
<p:tagLst xmlns:a="http://schemas.openxmlformats.org/drawingml/2006/main" xmlns:r="http://schemas.openxmlformats.org/officeDocument/2006/relationships" xmlns:p="http://schemas.openxmlformats.org/presentationml/2006/main">
  <p:tag name="ADV_COPYRIGHT"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32.xml><?xml version="1.0" encoding="utf-8"?>
<p:tagLst xmlns:a="http://schemas.openxmlformats.org/drawingml/2006/main" xmlns:r="http://schemas.openxmlformats.org/officeDocument/2006/relationships" xmlns:p="http://schemas.openxmlformats.org/presentationml/2006/main">
  <p:tag name="COPYRIGHT1"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KPMG Report (A4) Feb 2022">
  <a:themeElements>
    <a:clrScheme name="Custom 41">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KPMG New Brand 2022">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Report Standard Template.potx" id="{DCF5F480-E8FE-40B6-AE1E-81F7B1D3355B}" vid="{764D5BC0-58B6-4A31-A03F-C0D605EF285A}"/>
    </a:ext>
  </a:extLst>
</a:theme>
</file>

<file path=ppt/theme/theme2.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3.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4.xml><?xml version="1.0" encoding="utf-8"?>
<a:theme xmlns:a="http://schemas.openxmlformats.org/drawingml/2006/main" name="2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28DE33DAC6650448A584435A839C5CE" ma:contentTypeVersion="17" ma:contentTypeDescription="Create a new document." ma:contentTypeScope="" ma:versionID="2b6c1986bd142cb062ef33e101b8e424">
  <xsd:schema xmlns:xsd="http://www.w3.org/2001/XMLSchema" xmlns:xs="http://www.w3.org/2001/XMLSchema" xmlns:p="http://schemas.microsoft.com/office/2006/metadata/properties" xmlns:ns2="24c2f624-aa88-487c-8861-93fd78ffe3a0" xmlns:ns3="fae550a2-763c-4da3-92a0-80eba0999276" xmlns:ns4="4243d5be-521d-4052-81ca-f0f31ea6f2da" targetNamespace="http://schemas.microsoft.com/office/2006/metadata/properties" ma:root="true" ma:fieldsID="2828b53d28c59879c4310c46bf356d54" ns2:_="" ns3:_="" ns4:_="">
    <xsd:import namespace="24c2f624-aa88-487c-8861-93fd78ffe3a0"/>
    <xsd:import namespace="fae550a2-763c-4da3-92a0-80eba0999276"/>
    <xsd:import namespace="4243d5be-521d-4052-81ca-f0f31ea6f2d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2f624-aa88-487c-8861-93fd78ffe3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e550a2-763c-4da3-92a0-80eba099927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43d5be-521d-4052-81ca-f0f31ea6f2da"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d9796cf4-d9bf-4749-a5e0-935e15add2fa}" ma:internalName="TaxCatchAll" ma:showField="CatchAllData" ma:web="fae550a2-763c-4da3-92a0-80eba099927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4c2f624-aa88-487c-8861-93fd78ffe3a0">
      <Terms xmlns="http://schemas.microsoft.com/office/infopath/2007/PartnerControls"/>
    </lcf76f155ced4ddcb4097134ff3c332f>
    <TaxCatchAll xmlns="4243d5be-521d-4052-81ca-f0f31ea6f2d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454215-DBF0-4FF9-907D-D2E4407A90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c2f624-aa88-487c-8861-93fd78ffe3a0"/>
    <ds:schemaRef ds:uri="fae550a2-763c-4da3-92a0-80eba0999276"/>
    <ds:schemaRef ds:uri="4243d5be-521d-4052-81ca-f0f31ea6f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6D25CE8-5C1A-42D3-8116-09886B4ADE06}">
  <ds:schemaRefs>
    <ds:schemaRef ds:uri="http://purl.org/dc/dcmitype/"/>
    <ds:schemaRef ds:uri="http://schemas.microsoft.com/office/2006/metadata/propertie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www.w3.org/XML/1998/namespace"/>
    <ds:schemaRef ds:uri="http://purl.org/dc/terms/"/>
    <ds:schemaRef ds:uri="24c2f624-aa88-487c-8861-93fd78ffe3a0"/>
    <ds:schemaRef ds:uri="4243d5be-521d-4052-81ca-f0f31ea6f2da"/>
  </ds:schemaRefs>
</ds:datastoreItem>
</file>

<file path=customXml/itemProps3.xml><?xml version="1.0" encoding="utf-8"?>
<ds:datastoreItem xmlns:ds="http://schemas.openxmlformats.org/officeDocument/2006/customXml" ds:itemID="{580D1D2A-F593-4E46-ACA7-7D2EF2FB00D5}">
  <ds:schemaRefs>
    <ds:schemaRef ds:uri="http://schemas.microsoft.com/sharepoint/v3/contenttype/forms"/>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29300</TotalTime>
  <Words>820</Words>
  <Application>Microsoft Office PowerPoint</Application>
  <PresentationFormat>A4 Paper (210x297 mm)</PresentationFormat>
  <Paragraphs>178</Paragraphs>
  <Slides>13</Slides>
  <Notes>5</Notes>
  <HiddenSlides>1</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KPMG Bold</vt:lpstr>
      <vt:lpstr>KPMG Extralight</vt:lpstr>
      <vt:lpstr>KPMG Report (A4) Feb 2022</vt:lpstr>
      <vt:lpstr>1_KPMG Widescreen [16:9] Feb 2022</vt:lpstr>
      <vt:lpstr>KPMG Widescreen [16:9] Feb 2022</vt:lpstr>
      <vt:lpstr>2_KPMG Widescreen [16:9] Feb 2022</vt:lpstr>
      <vt:lpstr>think-cell Slide</vt:lpstr>
      <vt:lpstr>{company_name} - Asset Pack</vt:lpstr>
      <vt:lpstr>PowerPoint Presentation</vt:lpstr>
      <vt:lpstr>Deal Overview</vt:lpstr>
      <vt:lpstr>Deal Overview</vt:lpstr>
      <vt:lpstr>Company Overview</vt:lpstr>
      <vt:lpstr>Overview</vt:lpstr>
      <vt:lpstr>Geographic presence</vt:lpstr>
      <vt:lpstr>Business segments (1/2)</vt:lpstr>
      <vt:lpstr>Business segments (2/2)</vt:lpstr>
      <vt:lpstr>PowerPoint Presentation</vt:lpstr>
      <vt:lpstr>Deal Intelligence</vt:lpstr>
      <vt:lpstr>Country Flags</vt:lpstr>
      <vt:lpstr>Services</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hre Ansprechpartner</dc:title>
  <dc:creator>Schütze, Jörg</dc:creator>
  <cp:lastModifiedBy>Tang, Xin Yi (SG/Advisory)</cp:lastModifiedBy>
  <cp:revision>2311</cp:revision>
  <cp:lastPrinted>2020-03-04T08:08:45Z</cp:lastPrinted>
  <dcterms:created xsi:type="dcterms:W3CDTF">2016-08-31T08:20:54Z</dcterms:created>
  <dcterms:modified xsi:type="dcterms:W3CDTF">2023-10-26T14:29:39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1</vt:lpwstr>
  </property>
  <property fmtid="{D5CDD505-2E9C-101B-9397-08002B2CF9AE}" pid="3" name="ContentTypeId">
    <vt:lpwstr>0x010100928DE33DAC6650448A584435A839C5CE</vt:lpwstr>
  </property>
  <property fmtid="{D5CDD505-2E9C-101B-9397-08002B2CF9AE}" pid="4" name="Order">
    <vt:r8>25834400</vt:r8>
  </property>
  <property fmtid="{D5CDD505-2E9C-101B-9397-08002B2CF9AE}" pid="5" name="TaxCatchAll">
    <vt:lpwstr/>
  </property>
  <property fmtid="{D5CDD505-2E9C-101B-9397-08002B2CF9AE}" pid="6" name="MediaServiceImageTags">
    <vt:lpwstr/>
  </property>
</Properties>
</file>